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6"/>
  </p:notesMasterIdLst>
  <p:sldIdLst>
    <p:sldId id="256" r:id="rId2"/>
    <p:sldId id="364" r:id="rId3"/>
    <p:sldId id="397" r:id="rId4"/>
    <p:sldId id="396" r:id="rId5"/>
  </p:sldIdLst>
  <p:sldSz cx="10969625" cy="6170613"/>
  <p:notesSz cx="6797675" cy="9928225"/>
  <p:custDataLst>
    <p:tags r:id="rId7"/>
  </p:custDataLst>
  <p:defaultTextStyle>
    <a:defPPr>
      <a:defRPr lang="de-DE"/>
    </a:defPPr>
    <a:lvl1pPr marL="0" algn="l" defTabSz="914400" rtl="0" eaLnBrk="1" latinLnBrk="0" hangingPunct="1">
      <a:buFontTx/>
      <a:buNone/>
      <a:defRPr lang="en-US" sz="1800" b="0" i="0" u="none" kern="1200">
        <a:solidFill>
          <a:schemeClr val="tx1"/>
        </a:solidFill>
        <a:latin typeface="Bosch Office Sans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0" userDrawn="1">
          <p15:clr>
            <a:srgbClr val="A4A3A4"/>
          </p15:clr>
        </p15:guide>
        <p15:guide id="2" orient="horz" pos="656" userDrawn="1">
          <p15:clr>
            <a:srgbClr val="A4A3A4"/>
          </p15:clr>
        </p15:guide>
        <p15:guide id="3" orient="horz" pos="816" userDrawn="1">
          <p15:clr>
            <a:srgbClr val="A4A3A4"/>
          </p15:clr>
        </p15:guide>
        <p15:guide id="4" orient="horz" pos="3440" userDrawn="1">
          <p15:clr>
            <a:srgbClr val="A4A3A4"/>
          </p15:clr>
        </p15:guide>
        <p15:guide id="5" pos="160" userDrawn="1">
          <p15:clr>
            <a:srgbClr val="A4A3A4"/>
          </p15:clr>
        </p15:guide>
        <p15:guide id="6" pos="6744" userDrawn="1">
          <p15:clr>
            <a:srgbClr val="A4A3A4"/>
          </p15:clr>
        </p15:guide>
        <p15:guide id="7" pos="214">
          <p15:clr>
            <a:srgbClr val="A4A3A4"/>
          </p15:clr>
        </p15:guide>
        <p15:guide id="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78C5"/>
    <a:srgbClr val="0E0CC5"/>
    <a:srgbClr val="08427E"/>
    <a:srgbClr val="1399A0"/>
    <a:srgbClr val="6FC9CC"/>
    <a:srgbClr val="6FB9E2"/>
    <a:srgbClr val="D70013"/>
    <a:srgbClr val="A80163"/>
    <a:srgbClr val="A9AAAD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4" autoAdjust="0"/>
    <p:restoredTop sz="95204" autoAdjust="0"/>
  </p:normalViewPr>
  <p:slideViewPr>
    <p:cSldViewPr snapToGrid="0" snapToObjects="1">
      <p:cViewPr varScale="1">
        <p:scale>
          <a:sx n="138" d="100"/>
          <a:sy n="138" d="100"/>
        </p:scale>
        <p:origin x="162" y="156"/>
      </p:cViewPr>
      <p:guideLst>
        <p:guide orient="horz" pos="160"/>
        <p:guide orient="horz" pos="656"/>
        <p:guide orient="horz" pos="816"/>
        <p:guide orient="horz" pos="3440"/>
        <p:guide pos="160"/>
        <p:guide pos="6744"/>
        <p:guide pos="214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3EF50D-BB55-4CE2-8434-B22BD46D9C96}" type="datetimeFigureOut">
              <a:rPr lang="en-US" smtClean="0"/>
              <a:t>2/21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91DEA1-0F67-4A3B-A58B-8206D29AFCD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555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91DEA1-0F67-4A3B-A58B-8206D29AFCD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745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91DEA1-0F67-4A3B-A58B-8206D29AFCD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52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435" y="259068"/>
            <a:ext cx="10295833" cy="1107996"/>
          </a:xfrm>
          <a:noFill/>
          <a:ln w="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en-US" sz="8000" cap="all" dirty="0">
                <a:solidFill>
                  <a:srgbClr val="FFFFFF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5435" y="3780000"/>
            <a:ext cx="10295833" cy="359073"/>
          </a:xfrm>
          <a:noFill/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buFontTx/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81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5533625" y="1298531"/>
            <a:ext cx="5436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5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1298531"/>
            <a:ext cx="5436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33161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533625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333161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533625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179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2768542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5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33161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537083" y="3805573"/>
            <a:ext cx="50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333161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537083" y="4138258"/>
            <a:ext cx="5040000" cy="294953"/>
          </a:xfrm>
        </p:spPr>
        <p:txBody>
          <a:bodyPr>
            <a:spAutoFit/>
          </a:bodyPr>
          <a:lstStyle>
            <a:lvl1pPr>
              <a:defRPr sz="14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21" hasCustomPrompt="1"/>
          </p:nvPr>
        </p:nvSpPr>
        <p:spPr>
          <a:xfrm>
            <a:off x="8305625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22" hasCustomPrompt="1"/>
          </p:nvPr>
        </p:nvSpPr>
        <p:spPr>
          <a:xfrm>
            <a:off x="5537083" y="1298531"/>
            <a:ext cx="2664000" cy="2277526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53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solution one-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3161" y="2682027"/>
            <a:ext cx="4320000" cy="1224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r>
              <a:rPr lang="de-DE" dirty="0" smtClean="0"/>
              <a:t> (optional)</a:t>
            </a:r>
            <a:endParaRPr lang="en-US" dirty="0"/>
          </a:p>
        </p:txBody>
      </p:sp>
      <p:sp>
        <p:nvSpPr>
          <p:cNvPr id="3" name="Rechteck 2"/>
          <p:cNvSpPr/>
          <p:nvPr userDrawn="1"/>
        </p:nvSpPr>
        <p:spPr>
          <a:xfrm>
            <a:off x="4874098" y="1298530"/>
            <a:ext cx="5832000" cy="260749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333161" y="1298531"/>
            <a:ext cx="4320000" cy="2607496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23161" y="1390650"/>
            <a:ext cx="4140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4946098" y="1390650"/>
            <a:ext cx="5688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423161" y="1723336"/>
            <a:ext cx="4140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4946098" y="1723336"/>
            <a:ext cx="5688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333161" y="4093418"/>
            <a:ext cx="10372937" cy="13675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423161" y="4185538"/>
            <a:ext cx="10210937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22"/>
          </p:nvPr>
        </p:nvSpPr>
        <p:spPr>
          <a:xfrm>
            <a:off x="423161" y="4518224"/>
            <a:ext cx="10210937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8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project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5533625" y="3291222"/>
            <a:ext cx="5102838" cy="21600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333161" y="3291222"/>
            <a:ext cx="5102838" cy="2160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5533625" y="1298531"/>
            <a:ext cx="5436000" cy="1872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298531"/>
            <a:ext cx="5436000" cy="1872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36580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637044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436580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637044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5363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reference project slide (one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5533625" y="3291222"/>
            <a:ext cx="5102838" cy="21600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333161" y="3291222"/>
            <a:ext cx="5102838" cy="2160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298531"/>
            <a:ext cx="10969626" cy="1872000"/>
          </a:xfrm>
        </p:spPr>
        <p:txBody>
          <a:bodyPr vert="horz" wrap="none" lIns="0" tIns="684000" rIns="0" bIns="0" rtlCol="0" anchor="t" anchorCtr="0">
            <a:noAutofit/>
          </a:bodyPr>
          <a:lstStyle>
            <a:lvl1pPr marL="181440" indent="-181440" algn="ctr">
              <a:buNone/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36580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5637044" y="3357897"/>
            <a:ext cx="4896000" cy="246221"/>
          </a:xfrm>
        </p:spPr>
        <p:txBody>
          <a:bodyPr>
            <a:spAutoFit/>
          </a:bodyPr>
          <a:lstStyle>
            <a:lvl1pPr marL="0" indent="0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436580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5637044" y="3690583"/>
            <a:ext cx="4896000" cy="215444"/>
          </a:xfrm>
        </p:spPr>
        <p:txBody>
          <a:bodyPr>
            <a:spAutoFit/>
          </a:bodyPr>
          <a:lstStyle>
            <a:lvl1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  <a:defRPr sz="14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525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corpora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-2" y="1295400"/>
            <a:ext cx="4968000" cy="3573375"/>
          </a:xfrm>
        </p:spPr>
        <p:txBody>
          <a:bodyPr vert="horz" wrap="none" lIns="0" tIns="1188000" rIns="0" bIns="0" rtlCol="0" anchor="ctr" anchorCtr="1">
            <a:noAutofit/>
          </a:bodyPr>
          <a:lstStyle>
            <a:lvl1pPr algn="ctr">
              <a:defRPr lang="en-US" sz="1200">
                <a:solidFill>
                  <a:schemeClr val="bg2"/>
                </a:solidFill>
              </a:defRPr>
            </a:lvl1pPr>
          </a:lstStyle>
          <a:p>
            <a:pPr marL="0" lvl="0" indent="0" algn="ctr">
              <a:buNone/>
            </a:pPr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5378097" y="1295400"/>
            <a:ext cx="5328000" cy="1526059"/>
          </a:xfrm>
        </p:spPr>
        <p:txBody>
          <a:bodyPr>
            <a:spAutoFit/>
          </a:bodyPr>
          <a:lstStyle>
            <a:lvl1pPr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038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4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6075" y="1295400"/>
            <a:ext cx="5060950" cy="4167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559425" y="1295400"/>
            <a:ext cx="5062538" cy="2006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5559425" y="3454400"/>
            <a:ext cx="5062538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87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46075" y="1295400"/>
            <a:ext cx="5060950" cy="2006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559425" y="1295400"/>
            <a:ext cx="5062538" cy="2006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46075" y="3454400"/>
            <a:ext cx="5060950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59425" y="3454400"/>
            <a:ext cx="5062538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20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65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48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 marL="288000" indent="-288000">
              <a:buSzPct val="100000"/>
              <a:buFont typeface="+mj-lt"/>
              <a:buAutoNum type="arabicPeriod"/>
              <a:defRPr/>
            </a:lvl1pPr>
            <a:lvl2pPr marL="485775" indent="-219075">
              <a:buSzPct val="80000"/>
              <a:buFont typeface="Wingdings 3" panose="05040102010807070707" pitchFamily="18" charset="2"/>
              <a:buChar char="u"/>
              <a:defRPr/>
            </a:lvl2pPr>
            <a:lvl3pPr marL="695325" indent="-190500">
              <a:buFont typeface="Symbol" panose="05050102010706020507" pitchFamily="18" charset="2"/>
              <a:buChar char="-"/>
              <a:defRPr sz="1600"/>
            </a:lvl3pPr>
            <a:lvl4pPr marL="885825" indent="-171450">
              <a:buFont typeface="Symbol" panose="05050102010706020507" pitchFamily="18" charset="2"/>
              <a:buChar char="-"/>
              <a:defRPr sz="1400">
                <a:solidFill>
                  <a:schemeClr val="bg2"/>
                </a:solidFill>
              </a:defRPr>
            </a:lvl4pPr>
            <a:lvl5pPr marL="1076325" indent="-180975">
              <a:buFont typeface="Arial" panose="020B0604020202020204" pitchFamily="34" charset="0"/>
              <a:buChar char="»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8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205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435" y="259068"/>
            <a:ext cx="10295833" cy="900246"/>
          </a:xfrm>
          <a:noFill/>
          <a:ln w="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en-US" sz="6500" cap="all" dirty="0">
                <a:solidFill>
                  <a:srgbClr val="FFFFFF"/>
                </a:solidFill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mtClean="0"/>
              <a:t>Titelmasterformat durch Klicken bearbeiten</a:t>
            </a:r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-791186" y="1295334"/>
            <a:ext cx="648000" cy="4392000"/>
            <a:chOff x="516918" y="1296202"/>
            <a:chExt cx="756001" cy="5607138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516918" y="1296202"/>
              <a:ext cx="756001" cy="612000"/>
              <a:chOff x="516918" y="1745651"/>
              <a:chExt cx="756001" cy="612000"/>
            </a:xfrm>
          </p:grpSpPr>
          <p:sp>
            <p:nvSpPr>
              <p:cNvPr id="32" name="Rechteck 31"/>
              <p:cNvSpPr/>
              <p:nvPr/>
            </p:nvSpPr>
            <p:spPr>
              <a:xfrm>
                <a:off x="516919" y="2105651"/>
                <a:ext cx="756000" cy="252000"/>
              </a:xfrm>
              <a:prstGeom prst="rect">
                <a:avLst/>
              </a:prstGeom>
              <a:solidFill>
                <a:srgbClr val="D067A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208.103.173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33" name="Rechteck 32"/>
              <p:cNvSpPr/>
              <p:nvPr/>
            </p:nvSpPr>
            <p:spPr>
              <a:xfrm>
                <a:off x="516918" y="1745651"/>
                <a:ext cx="756000" cy="360000"/>
              </a:xfrm>
              <a:prstGeom prst="rect">
                <a:avLst/>
              </a:prstGeom>
              <a:solidFill>
                <a:srgbClr val="A8016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Fuchsia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latin typeface="Bosch Office Sans"/>
                    <a:cs typeface="Bosch Office Sans"/>
                  </a:rPr>
                  <a:t>168.1.99</a:t>
                </a:r>
                <a:endParaRPr lang="en-US" sz="800" b="1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516918" y="1994365"/>
              <a:ext cx="756001" cy="612000"/>
              <a:chOff x="1723109" y="1745651"/>
              <a:chExt cx="756001" cy="612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723110" y="2105651"/>
                <a:ext cx="756000" cy="252000"/>
              </a:xfrm>
              <a:prstGeom prst="rect">
                <a:avLst/>
              </a:prstGeom>
              <a:solidFill>
                <a:srgbClr val="967CB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50.124.17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23109" y="1745651"/>
                <a:ext cx="756000" cy="360000"/>
              </a:xfrm>
              <a:prstGeom prst="rect">
                <a:avLst/>
              </a:prstGeom>
              <a:solidFill>
                <a:srgbClr val="3F136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Violet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3.19.10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2" name="Gruppieren 11"/>
            <p:cNvGrpSpPr/>
            <p:nvPr/>
          </p:nvGrpSpPr>
          <p:grpSpPr>
            <a:xfrm>
              <a:off x="516918" y="2692528"/>
              <a:ext cx="756001" cy="612000"/>
              <a:chOff x="2929302" y="1745651"/>
              <a:chExt cx="756001" cy="612000"/>
            </a:xfrm>
          </p:grpSpPr>
          <p:sp>
            <p:nvSpPr>
              <p:cNvPr id="28" name="Rechteck 27"/>
              <p:cNvSpPr/>
              <p:nvPr/>
            </p:nvSpPr>
            <p:spPr>
              <a:xfrm>
                <a:off x="2929303" y="2105651"/>
                <a:ext cx="756000" cy="252000"/>
              </a:xfrm>
              <a:prstGeom prst="rect">
                <a:avLst/>
              </a:prstGeom>
              <a:solidFill>
                <a:srgbClr val="6D9AB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09.154.188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>
              <a:xfrm>
                <a:off x="2929302" y="1745651"/>
                <a:ext cx="756000" cy="360000"/>
              </a:xfrm>
              <a:prstGeom prst="rect">
                <a:avLst/>
              </a:prstGeom>
              <a:solidFill>
                <a:srgbClr val="08427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8.66.126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516918" y="3390691"/>
              <a:ext cx="756001" cy="612000"/>
              <a:chOff x="4135495" y="1745651"/>
              <a:chExt cx="756001" cy="612000"/>
            </a:xfrm>
          </p:grpSpPr>
          <p:sp>
            <p:nvSpPr>
              <p:cNvPr id="26" name="Rechteck 25"/>
              <p:cNvSpPr/>
              <p:nvPr/>
            </p:nvSpPr>
            <p:spPr>
              <a:xfrm>
                <a:off x="4135496" y="2105651"/>
                <a:ext cx="756000" cy="252000"/>
              </a:xfrm>
              <a:prstGeom prst="rect">
                <a:avLst/>
              </a:prstGeom>
              <a:solidFill>
                <a:srgbClr val="6FB9E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185.226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4135495" y="1745651"/>
                <a:ext cx="756000" cy="360000"/>
              </a:xfrm>
              <a:prstGeom prst="rect">
                <a:avLst/>
              </a:prstGeom>
              <a:solidFill>
                <a:srgbClr val="0E78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4.120.19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516918" y="4088854"/>
              <a:ext cx="756001" cy="612000"/>
              <a:chOff x="5341686" y="1745651"/>
              <a:chExt cx="756001" cy="612000"/>
            </a:xfrm>
          </p:grpSpPr>
          <p:sp>
            <p:nvSpPr>
              <p:cNvPr id="24" name="Rechteck 23"/>
              <p:cNvSpPr/>
              <p:nvPr/>
            </p:nvSpPr>
            <p:spPr>
              <a:xfrm>
                <a:off x="5341687" y="2105651"/>
                <a:ext cx="756000" cy="252000"/>
              </a:xfrm>
              <a:prstGeom prst="rect">
                <a:avLst/>
              </a:prstGeom>
              <a:solidFill>
                <a:srgbClr val="6FC9C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201.204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5341686" y="1745651"/>
                <a:ext cx="756000" cy="360000"/>
              </a:xfrm>
              <a:prstGeom prst="rect">
                <a:avLst/>
              </a:prstGeom>
              <a:solidFill>
                <a:srgbClr val="1399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Turquois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9.153.160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516918" y="4787017"/>
              <a:ext cx="756001" cy="612000"/>
              <a:chOff x="6547879" y="1745651"/>
              <a:chExt cx="756001" cy="612000"/>
            </a:xfrm>
          </p:grpSpPr>
          <p:sp>
            <p:nvSpPr>
              <p:cNvPr id="22" name="Rechteck 21"/>
              <p:cNvSpPr/>
              <p:nvPr/>
            </p:nvSpPr>
            <p:spPr>
              <a:xfrm>
                <a:off x="6547880" y="2105651"/>
                <a:ext cx="756000" cy="252000"/>
              </a:xfrm>
              <a:prstGeom prst="rect">
                <a:avLst/>
              </a:prstGeom>
              <a:solidFill>
                <a:srgbClr val="AEDB7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74.219.125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6547879" y="1745651"/>
                <a:ext cx="756000" cy="360000"/>
              </a:xfrm>
              <a:prstGeom prst="rect">
                <a:avLst/>
              </a:prstGeom>
              <a:solidFill>
                <a:srgbClr val="67B41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3.180.25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6" name="Gruppieren 15"/>
            <p:cNvGrpSpPr/>
            <p:nvPr/>
          </p:nvGrpSpPr>
          <p:grpSpPr>
            <a:xfrm>
              <a:off x="516918" y="5485180"/>
              <a:ext cx="756001" cy="612000"/>
              <a:chOff x="7754071" y="1745651"/>
              <a:chExt cx="756001" cy="612000"/>
            </a:xfrm>
          </p:grpSpPr>
          <p:sp>
            <p:nvSpPr>
              <p:cNvPr id="20" name="Rechteck 19"/>
              <p:cNvSpPr/>
              <p:nvPr/>
            </p:nvSpPr>
            <p:spPr>
              <a:xfrm>
                <a:off x="7754072" y="2105651"/>
                <a:ext cx="756000" cy="252000"/>
              </a:xfrm>
              <a:prstGeom prst="rect">
                <a:avLst/>
              </a:prstGeom>
              <a:solidFill>
                <a:srgbClr val="6EA29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0.162.14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7754071" y="1745651"/>
                <a:ext cx="756000" cy="360000"/>
              </a:xfrm>
              <a:prstGeom prst="rect">
                <a:avLst/>
              </a:prstGeom>
              <a:solidFill>
                <a:srgbClr val="0A513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.81.5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17" name="Gruppieren 16"/>
            <p:cNvGrpSpPr/>
            <p:nvPr/>
          </p:nvGrpSpPr>
          <p:grpSpPr>
            <a:xfrm>
              <a:off x="516918" y="6183340"/>
              <a:ext cx="756001" cy="720000"/>
              <a:chOff x="9452974" y="1745651"/>
              <a:chExt cx="756001" cy="720000"/>
            </a:xfrm>
          </p:grpSpPr>
          <p:sp>
            <p:nvSpPr>
              <p:cNvPr id="18" name="Rechteck 17"/>
              <p:cNvSpPr/>
              <p:nvPr/>
            </p:nvSpPr>
            <p:spPr>
              <a:xfrm>
                <a:off x="9452975" y="2105651"/>
                <a:ext cx="756000" cy="360000"/>
              </a:xfrm>
              <a:prstGeom prst="rect">
                <a:avLst/>
              </a:prstGeom>
              <a:solidFill>
                <a:srgbClr val="B2B3B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78.179.181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>
              <a:xfrm>
                <a:off x="9452974" y="1745651"/>
                <a:ext cx="756000" cy="360000"/>
              </a:xfrm>
              <a:prstGeom prst="rect">
                <a:avLst/>
              </a:prstGeom>
              <a:solidFill>
                <a:srgbClr val="424C5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6.76.8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</p:grpSp>
      <p:grpSp>
        <p:nvGrpSpPr>
          <p:cNvPr id="34" name="Gruppieren 33"/>
          <p:cNvGrpSpPr/>
          <p:nvPr userDrawn="1"/>
        </p:nvGrpSpPr>
        <p:grpSpPr>
          <a:xfrm>
            <a:off x="9745573" y="213"/>
            <a:ext cx="1224049" cy="6170400"/>
            <a:chOff x="9745573" y="213"/>
            <a:chExt cx="1224049" cy="6170400"/>
          </a:xfrm>
        </p:grpSpPr>
        <p:pic>
          <p:nvPicPr>
            <p:cNvPr id="35" name="Grafik 34"/>
            <p:cNvPicPr>
              <a:picLocks/>
            </p:cNvPicPr>
            <p:nvPr userDrawn="1">
              <p:custDataLst>
                <p:tags r:id="rId1"/>
              </p:custDataLst>
            </p:nvPr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0093" y="213"/>
              <a:ext cx="129529" cy="6170400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36" name="Gruppieren 35"/>
            <p:cNvGrpSpPr>
              <a:grpSpLocks noChangeAspect="1"/>
            </p:cNvGrpSpPr>
            <p:nvPr/>
          </p:nvGrpSpPr>
          <p:grpSpPr>
            <a:xfrm>
              <a:off x="9745573" y="5465954"/>
              <a:ext cx="1094400" cy="575132"/>
              <a:chOff x="10829242" y="6074983"/>
              <a:chExt cx="1216420" cy="639256"/>
            </a:xfrm>
          </p:grpSpPr>
          <p:sp>
            <p:nvSpPr>
              <p:cNvPr id="37" name="Rechteck 36"/>
              <p:cNvSpPr/>
              <p:nvPr userDrawn="1"/>
            </p:nvSpPr>
            <p:spPr>
              <a:xfrm>
                <a:off x="10829242" y="6074983"/>
                <a:ext cx="1216420" cy="6392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38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46605" y="6286741"/>
                <a:ext cx="957600" cy="2183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80294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436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/>
            </a:lvl6pPr>
            <a:lvl7pPr>
              <a:defRPr sz="1169"/>
            </a:lvl7pPr>
            <a:lvl8pPr>
              <a:defRPr sz="1169" baseline="0"/>
            </a:lvl8pPr>
            <a:lvl9pPr>
              <a:defRPr sz="1169" baseline="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61181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 baseline="0"/>
            </a:lvl6pPr>
            <a:lvl7pPr>
              <a:defRPr sz="1169" baseline="0"/>
            </a:lvl7pPr>
            <a:lvl8pPr>
              <a:defRPr sz="1169" baseline="0"/>
            </a:lvl8pPr>
            <a:lvl9pPr>
              <a:defRPr sz="1169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771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5861181" y="1295334"/>
            <a:ext cx="4844917" cy="4166656"/>
          </a:xfrm>
        </p:spPr>
        <p:txBody>
          <a:bodyPr tIns="68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436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/>
            </a:lvl6pPr>
            <a:lvl7pPr>
              <a:defRPr sz="1169"/>
            </a:lvl7pPr>
            <a:lvl8pPr>
              <a:defRPr sz="1169" baseline="0"/>
            </a:lvl8pPr>
            <a:lvl9pPr>
              <a:defRPr sz="1169" baseline="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093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61181" y="1295334"/>
            <a:ext cx="4844917" cy="4166656"/>
          </a:xfrm>
        </p:spPr>
        <p:txBody>
          <a:bodyPr/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300"/>
            </a:lvl5pPr>
            <a:lvl6pPr>
              <a:defRPr sz="1169"/>
            </a:lvl6pPr>
            <a:lvl7pPr>
              <a:defRPr sz="1169"/>
            </a:lvl7pPr>
            <a:lvl8pPr>
              <a:defRPr sz="1169" baseline="0"/>
            </a:lvl8pPr>
            <a:lvl9pPr>
              <a:defRPr sz="1169" baseline="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345436" y="1295334"/>
            <a:ext cx="4844917" cy="4166656"/>
          </a:xfrm>
        </p:spPr>
        <p:txBody>
          <a:bodyPr tIns="68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 dirty="0" smtClean="0"/>
              <a:t>Place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picture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endParaRPr lang="de-DE" dirty="0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33161" y="566171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fld id="{619303D5-007B-4C81-9134-3DF960A732C6}" type="slidenum">
              <a:rPr lang="de-DE" sz="1200" b="0" i="0" u="none" kern="1200" noProof="0" smtClean="0">
                <a:solidFill>
                  <a:srgbClr val="999FA6"/>
                </a:solidFill>
                <a:latin typeface="+mn-lt"/>
                <a:ea typeface="+mn-ea"/>
                <a:cs typeface="+mn-cs"/>
              </a:rPr>
              <a:pPr marL="0" lvl="0" algn="l" defTabSz="914400" rtl="0" eaLnBrk="1" latinLnBrk="0" hangingPunct="1">
                <a:buFontTx/>
                <a:buNone/>
              </a:pPr>
              <a:t>‹Nr.›</a:t>
            </a:fld>
            <a:endParaRPr lang="de-DE" sz="1200" b="0" i="0" u="none" kern="1200" noProof="0" dirty="0">
              <a:solidFill>
                <a:srgbClr val="999FA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85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333161" y="259133"/>
            <a:ext cx="10372937" cy="777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127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333160" y="1295334"/>
            <a:ext cx="10372939" cy="4166656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97810" y="5172466"/>
            <a:ext cx="2591038" cy="6477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6611" indent="-226611">
              <a:spcBef>
                <a:spcPts val="449"/>
              </a:spcBef>
              <a:buFont typeface="Wingdings 3" pitchFamily="18" charset="2"/>
              <a:buChar char=""/>
            </a:pPr>
            <a:endParaRPr lang="en-US" sz="1619" dirty="0" smtClean="0"/>
          </a:p>
        </p:txBody>
      </p:sp>
      <p:pic>
        <p:nvPicPr>
          <p:cNvPr id="8" name="Grafik 7"/>
          <p:cNvPicPr>
            <a:picLocks/>
          </p:cNvPicPr>
          <p:nvPr>
            <p:custDataLst>
              <p:tags r:id="rId22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086"/>
            <a:ext cx="10969200" cy="129527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Rechteck 10"/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741189" y="5605699"/>
            <a:ext cx="5672670" cy="296428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00" b="1" dirty="0" smtClean="0">
                <a:solidFill>
                  <a:srgbClr val="D70012"/>
                </a:solidFill>
              </a:rPr>
              <a:t>Public</a:t>
            </a:r>
            <a:r>
              <a:rPr lang="en-US" sz="600" dirty="0" smtClean="0">
                <a:solidFill>
                  <a:srgbClr val="707070"/>
                </a:solidFill>
              </a:rPr>
              <a:t> </a:t>
            </a:r>
            <a:r>
              <a:rPr lang="en-US" sz="600" dirty="0" smtClean="0">
                <a:solidFill>
                  <a:schemeClr val="tx1"/>
                </a:solidFill>
              </a:rPr>
              <a:t>| Bosch Software</a:t>
            </a:r>
            <a:r>
              <a:rPr lang="en-US" sz="600" baseline="0" dirty="0" smtClean="0">
                <a:solidFill>
                  <a:schemeClr val="tx1"/>
                </a:solidFill>
              </a:rPr>
              <a:t> Innovations GmbH (</a:t>
            </a:r>
            <a:r>
              <a:rPr lang="en-US" sz="600" dirty="0" smtClean="0">
                <a:solidFill>
                  <a:schemeClr val="tx1"/>
                </a:solidFill>
              </a:rPr>
              <a:t>INST-</a:t>
            </a:r>
            <a:r>
              <a:rPr lang="en-US" sz="600" dirty="0" err="1" smtClean="0">
                <a:solidFill>
                  <a:schemeClr val="tx1"/>
                </a:solidFill>
              </a:rPr>
              <a:t>IoT</a:t>
            </a:r>
            <a:r>
              <a:rPr lang="en-US" sz="600" dirty="0" smtClean="0">
                <a:solidFill>
                  <a:schemeClr val="tx1"/>
                </a:solidFill>
              </a:rPr>
              <a:t>) | 20.02.2017</a:t>
            </a:r>
            <a:r>
              <a:rPr lang="en-US" sz="600" dirty="0" smtClean="0">
                <a:solidFill>
                  <a:srgbClr val="707070"/>
                </a:solidFill>
              </a:rPr>
              <a:t/>
            </a:r>
            <a:br>
              <a:rPr lang="en-US" sz="600" dirty="0" smtClean="0">
                <a:solidFill>
                  <a:srgbClr val="707070"/>
                </a:solidFill>
              </a:rPr>
            </a:br>
            <a:r>
              <a:rPr lang="en-US" sz="600" dirty="0" smtClean="0">
                <a:solidFill>
                  <a:srgbClr val="B2B3B5"/>
                </a:solidFill>
              </a:rPr>
              <a:t>© Bosch Software Innovations GmbH. All rights reserved, also regarding any disposal, exploitation, reproduction, editing, distribution as well as in the event of applications for industrial property rights. </a:t>
            </a:r>
            <a:endParaRPr lang="x-none" sz="600" dirty="0">
              <a:solidFill>
                <a:srgbClr val="B2B3B5"/>
              </a:solidFill>
            </a:endParaRPr>
          </a:p>
        </p:txBody>
      </p:sp>
      <p:grpSp>
        <p:nvGrpSpPr>
          <p:cNvPr id="10" name="Gruppieren 9"/>
          <p:cNvGrpSpPr>
            <a:grpSpLocks noChangeAspect="1"/>
          </p:cNvGrpSpPr>
          <p:nvPr/>
        </p:nvGrpSpPr>
        <p:grpSpPr>
          <a:xfrm>
            <a:off x="9745573" y="5465954"/>
            <a:ext cx="1094400" cy="575132"/>
            <a:chOff x="10829242" y="6074983"/>
            <a:chExt cx="1216420" cy="639256"/>
          </a:xfrm>
        </p:grpSpPr>
        <p:sp>
          <p:nvSpPr>
            <p:cNvPr id="15" name="Rechteck 14"/>
            <p:cNvSpPr/>
            <p:nvPr userDrawn="1"/>
          </p:nvSpPr>
          <p:spPr>
            <a:xfrm>
              <a:off x="10829242" y="6074983"/>
              <a:ext cx="1216420" cy="6392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14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6" name="Picture 2"/>
            <p:cNvPicPr>
              <a:picLocks noChangeAspect="1" noChangeArrowheads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6605" y="6286741"/>
              <a:ext cx="957600" cy="2183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uppieren 59"/>
          <p:cNvGrpSpPr/>
          <p:nvPr/>
        </p:nvGrpSpPr>
        <p:grpSpPr>
          <a:xfrm>
            <a:off x="-791186" y="1295334"/>
            <a:ext cx="648000" cy="4392000"/>
            <a:chOff x="516918" y="1296202"/>
            <a:chExt cx="756001" cy="5607138"/>
          </a:xfrm>
        </p:grpSpPr>
        <p:grpSp>
          <p:nvGrpSpPr>
            <p:cNvPr id="61" name="Gruppieren 60"/>
            <p:cNvGrpSpPr/>
            <p:nvPr/>
          </p:nvGrpSpPr>
          <p:grpSpPr>
            <a:xfrm>
              <a:off x="516918" y="1296202"/>
              <a:ext cx="756001" cy="612000"/>
              <a:chOff x="516918" y="1745651"/>
              <a:chExt cx="756001" cy="612000"/>
            </a:xfrm>
          </p:grpSpPr>
          <p:sp>
            <p:nvSpPr>
              <p:cNvPr id="83" name="Rechteck 82"/>
              <p:cNvSpPr/>
              <p:nvPr/>
            </p:nvSpPr>
            <p:spPr>
              <a:xfrm>
                <a:off x="516919" y="2105651"/>
                <a:ext cx="756000" cy="252000"/>
              </a:xfrm>
              <a:prstGeom prst="rect">
                <a:avLst/>
              </a:prstGeom>
              <a:solidFill>
                <a:srgbClr val="D067A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208.103.173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84" name="Rechteck 83"/>
              <p:cNvSpPr/>
              <p:nvPr/>
            </p:nvSpPr>
            <p:spPr>
              <a:xfrm>
                <a:off x="516918" y="1745651"/>
                <a:ext cx="756000" cy="360000"/>
              </a:xfrm>
              <a:prstGeom prst="rect">
                <a:avLst/>
              </a:prstGeom>
              <a:solidFill>
                <a:srgbClr val="A8016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Fuchsia</a:t>
                </a:r>
              </a:p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latin typeface="Bosch Office Sans"/>
                    <a:cs typeface="Bosch Office Sans"/>
                  </a:rPr>
                  <a:t>168.1.99</a:t>
                </a:r>
                <a:endParaRPr lang="en-US" sz="800" b="1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2" name="Gruppieren 61"/>
            <p:cNvGrpSpPr/>
            <p:nvPr/>
          </p:nvGrpSpPr>
          <p:grpSpPr>
            <a:xfrm>
              <a:off x="516918" y="1994365"/>
              <a:ext cx="756001" cy="612000"/>
              <a:chOff x="1723109" y="1745651"/>
              <a:chExt cx="756001" cy="612000"/>
            </a:xfrm>
          </p:grpSpPr>
          <p:sp>
            <p:nvSpPr>
              <p:cNvPr id="81" name="Rechteck 80"/>
              <p:cNvSpPr/>
              <p:nvPr/>
            </p:nvSpPr>
            <p:spPr>
              <a:xfrm>
                <a:off x="1723110" y="2105651"/>
                <a:ext cx="756000" cy="252000"/>
              </a:xfrm>
              <a:prstGeom prst="rect">
                <a:avLst/>
              </a:prstGeom>
              <a:solidFill>
                <a:srgbClr val="967CB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50.124.17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>
              <a:xfrm>
                <a:off x="1723109" y="1745651"/>
                <a:ext cx="756000" cy="360000"/>
              </a:xfrm>
              <a:prstGeom prst="rect">
                <a:avLst/>
              </a:prstGeom>
              <a:solidFill>
                <a:srgbClr val="3F136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Violet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3.19.10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3" name="Gruppieren 62"/>
            <p:cNvGrpSpPr/>
            <p:nvPr/>
          </p:nvGrpSpPr>
          <p:grpSpPr>
            <a:xfrm>
              <a:off x="516918" y="2692528"/>
              <a:ext cx="756001" cy="612000"/>
              <a:chOff x="2929302" y="1745651"/>
              <a:chExt cx="756001" cy="612000"/>
            </a:xfrm>
          </p:grpSpPr>
          <p:sp>
            <p:nvSpPr>
              <p:cNvPr id="79" name="Rechteck 78"/>
              <p:cNvSpPr/>
              <p:nvPr/>
            </p:nvSpPr>
            <p:spPr>
              <a:xfrm>
                <a:off x="2929303" y="2105651"/>
                <a:ext cx="756000" cy="252000"/>
              </a:xfrm>
              <a:prstGeom prst="rect">
                <a:avLst/>
              </a:prstGeom>
              <a:solidFill>
                <a:srgbClr val="6D9AB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09.154.188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80" name="Rechteck 79"/>
              <p:cNvSpPr/>
              <p:nvPr/>
            </p:nvSpPr>
            <p:spPr>
              <a:xfrm>
                <a:off x="2929302" y="1745651"/>
                <a:ext cx="756000" cy="360000"/>
              </a:xfrm>
              <a:prstGeom prst="rect">
                <a:avLst/>
              </a:prstGeom>
              <a:solidFill>
                <a:srgbClr val="08427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8.66.126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4" name="Gruppieren 63"/>
            <p:cNvGrpSpPr/>
            <p:nvPr/>
          </p:nvGrpSpPr>
          <p:grpSpPr>
            <a:xfrm>
              <a:off x="516918" y="3390691"/>
              <a:ext cx="756001" cy="612000"/>
              <a:chOff x="4135495" y="1745651"/>
              <a:chExt cx="756001" cy="612000"/>
            </a:xfrm>
          </p:grpSpPr>
          <p:sp>
            <p:nvSpPr>
              <p:cNvPr id="77" name="Rechteck 76"/>
              <p:cNvSpPr/>
              <p:nvPr/>
            </p:nvSpPr>
            <p:spPr>
              <a:xfrm>
                <a:off x="4135496" y="2105651"/>
                <a:ext cx="756000" cy="252000"/>
              </a:xfrm>
              <a:prstGeom prst="rect">
                <a:avLst/>
              </a:prstGeom>
              <a:solidFill>
                <a:srgbClr val="6FB9E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185.226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8" name="Rechteck 77"/>
              <p:cNvSpPr/>
              <p:nvPr/>
            </p:nvSpPr>
            <p:spPr>
              <a:xfrm>
                <a:off x="4135495" y="1745651"/>
                <a:ext cx="756000" cy="360000"/>
              </a:xfrm>
              <a:prstGeom prst="rect">
                <a:avLst/>
              </a:prstGeom>
              <a:solidFill>
                <a:srgbClr val="0E78C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Blu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4.120.19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516918" y="4088854"/>
              <a:ext cx="756001" cy="612000"/>
              <a:chOff x="5341686" y="1745651"/>
              <a:chExt cx="756001" cy="612000"/>
            </a:xfrm>
          </p:grpSpPr>
          <p:sp>
            <p:nvSpPr>
              <p:cNvPr id="75" name="Rechteck 74"/>
              <p:cNvSpPr/>
              <p:nvPr/>
            </p:nvSpPr>
            <p:spPr>
              <a:xfrm>
                <a:off x="5341687" y="2105651"/>
                <a:ext cx="756000" cy="252000"/>
              </a:xfrm>
              <a:prstGeom prst="rect">
                <a:avLst/>
              </a:prstGeom>
              <a:solidFill>
                <a:srgbClr val="6FC9C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1.201.204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6" name="Rechteck 75"/>
              <p:cNvSpPr/>
              <p:nvPr/>
            </p:nvSpPr>
            <p:spPr>
              <a:xfrm>
                <a:off x="5341686" y="1745651"/>
                <a:ext cx="756000" cy="360000"/>
              </a:xfrm>
              <a:prstGeom prst="rect">
                <a:avLst/>
              </a:prstGeom>
              <a:solidFill>
                <a:srgbClr val="1399A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Turquoise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9.153.160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6" name="Gruppieren 65"/>
            <p:cNvGrpSpPr/>
            <p:nvPr/>
          </p:nvGrpSpPr>
          <p:grpSpPr>
            <a:xfrm>
              <a:off x="516918" y="4787017"/>
              <a:ext cx="756001" cy="612000"/>
              <a:chOff x="6547879" y="1745651"/>
              <a:chExt cx="756001" cy="612000"/>
            </a:xfrm>
          </p:grpSpPr>
          <p:sp>
            <p:nvSpPr>
              <p:cNvPr id="73" name="Rechteck 72"/>
              <p:cNvSpPr/>
              <p:nvPr/>
            </p:nvSpPr>
            <p:spPr>
              <a:xfrm>
                <a:off x="6547880" y="2105651"/>
                <a:ext cx="756000" cy="252000"/>
              </a:xfrm>
              <a:prstGeom prst="rect">
                <a:avLst/>
              </a:prstGeom>
              <a:solidFill>
                <a:srgbClr val="AEDB7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74.219.125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4" name="Rechteck 73"/>
              <p:cNvSpPr/>
              <p:nvPr/>
            </p:nvSpPr>
            <p:spPr>
              <a:xfrm>
                <a:off x="6547879" y="1745651"/>
                <a:ext cx="756000" cy="360000"/>
              </a:xfrm>
              <a:prstGeom prst="rect">
                <a:avLst/>
              </a:prstGeom>
              <a:solidFill>
                <a:srgbClr val="67B41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3.180.25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7" name="Gruppieren 66"/>
            <p:cNvGrpSpPr/>
            <p:nvPr/>
          </p:nvGrpSpPr>
          <p:grpSpPr>
            <a:xfrm>
              <a:off x="516918" y="5485180"/>
              <a:ext cx="756001" cy="612000"/>
              <a:chOff x="7754071" y="1745651"/>
              <a:chExt cx="756001" cy="612000"/>
            </a:xfrm>
          </p:grpSpPr>
          <p:sp>
            <p:nvSpPr>
              <p:cNvPr id="71" name="Rechteck 70"/>
              <p:cNvSpPr/>
              <p:nvPr/>
            </p:nvSpPr>
            <p:spPr>
              <a:xfrm>
                <a:off x="7754072" y="2105651"/>
                <a:ext cx="756000" cy="252000"/>
              </a:xfrm>
              <a:prstGeom prst="rect">
                <a:avLst/>
              </a:prstGeom>
              <a:solidFill>
                <a:srgbClr val="6EA29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chemeClr val="tx1"/>
                    </a:solidFill>
                    <a:latin typeface="Bosch Office Sans"/>
                    <a:cs typeface="Bosch Office Sans"/>
                  </a:rPr>
                  <a:t>110.162.147</a:t>
                </a:r>
                <a:endParaRPr lang="en-US" sz="800" dirty="0">
                  <a:solidFill>
                    <a:schemeClr val="tx1"/>
                  </a:solidFill>
                  <a:latin typeface="Bosch Office Sans"/>
                  <a:cs typeface="Bosch Office Sans"/>
                </a:endParaRPr>
              </a:p>
            </p:txBody>
          </p:sp>
          <p:sp>
            <p:nvSpPr>
              <p:cNvPr id="72" name="Rechteck 71"/>
              <p:cNvSpPr/>
              <p:nvPr/>
            </p:nvSpPr>
            <p:spPr>
              <a:xfrm>
                <a:off x="7754071" y="1745651"/>
                <a:ext cx="756000" cy="360000"/>
              </a:xfrm>
              <a:prstGeom prst="rect">
                <a:avLst/>
              </a:prstGeom>
              <a:solidFill>
                <a:srgbClr val="0A513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een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0.81.57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  <p:grpSp>
          <p:nvGrpSpPr>
            <p:cNvPr id="68" name="Gruppieren 67"/>
            <p:cNvGrpSpPr/>
            <p:nvPr/>
          </p:nvGrpSpPr>
          <p:grpSpPr>
            <a:xfrm>
              <a:off x="516918" y="6183340"/>
              <a:ext cx="756001" cy="720000"/>
              <a:chOff x="9452974" y="1745651"/>
              <a:chExt cx="756001" cy="720000"/>
            </a:xfrm>
          </p:grpSpPr>
          <p:sp>
            <p:nvSpPr>
              <p:cNvPr id="69" name="Rechteck 68"/>
              <p:cNvSpPr/>
              <p:nvPr/>
            </p:nvSpPr>
            <p:spPr>
              <a:xfrm>
                <a:off x="9452975" y="2105651"/>
                <a:ext cx="756000" cy="360000"/>
              </a:xfrm>
              <a:prstGeom prst="rect">
                <a:avLst/>
              </a:prstGeom>
              <a:solidFill>
                <a:srgbClr val="B2B3B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t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Light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178.179.181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  <p:sp>
            <p:nvSpPr>
              <p:cNvPr id="70" name="Rechteck 69"/>
              <p:cNvSpPr/>
              <p:nvPr/>
            </p:nvSpPr>
            <p:spPr>
              <a:xfrm>
                <a:off x="9452974" y="1745651"/>
                <a:ext cx="756000" cy="360000"/>
              </a:xfrm>
              <a:prstGeom prst="rect">
                <a:avLst/>
              </a:prstGeom>
              <a:solidFill>
                <a:srgbClr val="424C5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>
                  <a:lnSpc>
                    <a:spcPct val="90000"/>
                  </a:lnSpc>
                </a:pPr>
                <a:r>
                  <a:rPr lang="en-US" sz="800" b="1" dirty="0" smtClean="0">
                    <a:latin typeface="Bosch Office Sans"/>
                    <a:cs typeface="Bosch Office Sans"/>
                  </a:rPr>
                  <a:t>Dark Gray</a:t>
                </a:r>
                <a:br>
                  <a:rPr lang="en-US" sz="800" b="1" dirty="0" smtClean="0">
                    <a:latin typeface="Bosch Office Sans"/>
                    <a:cs typeface="Bosch Office Sans"/>
                  </a:rPr>
                </a:br>
                <a:r>
                  <a:rPr lang="en-US" sz="800" dirty="0" smtClean="0">
                    <a:latin typeface="Bosch Office Sans"/>
                    <a:cs typeface="Bosch Office Sans"/>
                  </a:rPr>
                  <a:t>66.76.88</a:t>
                </a:r>
                <a:endParaRPr lang="en-US" sz="800" dirty="0">
                  <a:latin typeface="Bosch Office Sans"/>
                  <a:cs typeface="Bosch Office San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915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9" r:id="rId4"/>
    <p:sldLayoutId id="2147483663" r:id="rId5"/>
    <p:sldLayoutId id="2147483670" r:id="rId6"/>
    <p:sldLayoutId id="2147483664" r:id="rId7"/>
    <p:sldLayoutId id="2147483671" r:id="rId8"/>
    <p:sldLayoutId id="2147483672" r:id="rId9"/>
    <p:sldLayoutId id="2147483673" r:id="rId10"/>
    <p:sldLayoutId id="2147483674" r:id="rId11"/>
    <p:sldLayoutId id="2147483678" r:id="rId12"/>
    <p:sldLayoutId id="2147483677" r:id="rId13"/>
    <p:sldLayoutId id="2147483679" r:id="rId14"/>
    <p:sldLayoutId id="2147483675" r:id="rId15"/>
    <p:sldLayoutId id="2147483666" r:id="rId16"/>
    <p:sldLayoutId id="2147483667" r:id="rId17"/>
    <p:sldLayoutId id="214748366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buFontTx/>
        <a:buNone/>
        <a:defRPr sz="2800" b="0" i="0" u="none">
          <a:solidFill>
            <a:srgbClr val="000000"/>
          </a:solidFill>
          <a:latin typeface="Bosch Office Sans" panose="020B0604020202020204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2pPr>
      <a:lvl3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3pPr>
      <a:lvl4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4pPr>
      <a:lvl5pPr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5pPr>
      <a:lvl6pPr marL="411137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6pPr>
      <a:lvl7pPr marL="822273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7pPr>
      <a:lvl8pPr marL="1233409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8pPr>
      <a:lvl9pPr marL="1644545" algn="l" rtl="0" eaLnBrk="1" fontAlgn="base" hangingPunct="1">
        <a:lnSpc>
          <a:spcPct val="111000"/>
        </a:lnSpc>
        <a:spcBef>
          <a:spcPct val="0"/>
        </a:spcBef>
        <a:spcAft>
          <a:spcPct val="0"/>
        </a:spcAft>
        <a:defRPr sz="2428">
          <a:solidFill>
            <a:srgbClr val="000000"/>
          </a:solidFill>
          <a:latin typeface="Bosch Office Sans"/>
        </a:defRPr>
      </a:lvl9pPr>
    </p:titleStyle>
    <p:bodyStyle>
      <a:lvl1pPr marL="0" indent="0" algn="l" rtl="0" eaLnBrk="1" fontAlgn="base" hangingPunct="1">
        <a:lnSpc>
          <a:spcPts val="2300"/>
        </a:lnSpc>
        <a:spcBef>
          <a:spcPts val="500"/>
        </a:spcBef>
        <a:spcAft>
          <a:spcPct val="0"/>
        </a:spcAft>
        <a:buClrTx/>
        <a:buSzPct val="80000"/>
        <a:buFont typeface="Wingdings 3" panose="05040102010807070707" pitchFamily="18" charset="2"/>
        <a:buNone/>
        <a:defRPr sz="1800" b="0" i="0" u="none">
          <a:solidFill>
            <a:schemeClr val="tx1"/>
          </a:solidFill>
          <a:latin typeface="Bosch Office Sans" panose="020B0604020202020204" pitchFamily="34" charset="0"/>
          <a:ea typeface="+mn-ea"/>
          <a:cs typeface="Arial" pitchFamily="34" charset="0"/>
        </a:defRPr>
      </a:lvl1pPr>
      <a:lvl2pPr marL="250825" indent="-250825" algn="l" rtl="0" eaLnBrk="1" fontAlgn="base" hangingPunct="1">
        <a:lnSpc>
          <a:spcPts val="2300"/>
        </a:lnSpc>
        <a:spcBef>
          <a:spcPts val="500"/>
        </a:spcBef>
        <a:spcAft>
          <a:spcPct val="0"/>
        </a:spcAft>
        <a:buClrTx/>
        <a:buSzPct val="80000"/>
        <a:buFont typeface="Wingdings 3" panose="05040102010807070707" pitchFamily="18" charset="2"/>
        <a:buChar char="u"/>
        <a:defRPr sz="18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2pPr>
      <a:lvl3pPr marL="468000" indent="-180000" algn="l" rtl="0" eaLnBrk="1" fontAlgn="base" hangingPunct="1">
        <a:lnSpc>
          <a:spcPts val="2000"/>
        </a:lnSpc>
        <a:spcBef>
          <a:spcPts val="500"/>
        </a:spcBef>
        <a:spcAft>
          <a:spcPct val="0"/>
        </a:spcAft>
        <a:buClrTx/>
        <a:buSzPct val="100000"/>
        <a:buFont typeface="Symbol" panose="05050102010706020507" pitchFamily="18" charset="2"/>
        <a:buChar char="-"/>
        <a:defRPr sz="16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3pPr>
      <a:lvl4pPr marL="648000" indent="-180000" algn="l" rtl="0" eaLnBrk="1" fontAlgn="base" hangingPunct="1">
        <a:lnSpc>
          <a:spcPts val="1700"/>
        </a:lnSpc>
        <a:spcBef>
          <a:spcPts val="500"/>
        </a:spcBef>
        <a:spcAft>
          <a:spcPct val="0"/>
        </a:spcAft>
        <a:buClrTx/>
        <a:buSzPct val="100000"/>
        <a:buFont typeface="Symbol" panose="05050102010706020507" pitchFamily="18" charset="2"/>
        <a:buChar char="-"/>
        <a:defRPr sz="1400" b="0" i="0" u="none">
          <a:solidFill>
            <a:schemeClr val="bg2"/>
          </a:solidFill>
          <a:latin typeface="Bosch Office Sans" panose="020B0604020202020204" pitchFamily="34" charset="0"/>
          <a:cs typeface="Arial" pitchFamily="34" charset="0"/>
        </a:defRPr>
      </a:lvl4pPr>
      <a:lvl5pPr marL="864000" indent="-18000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 typeface="Arial" panose="020B0604020202020204" pitchFamily="34" charset="0"/>
        <a:buChar char="»"/>
        <a:defRPr sz="1300" b="0" i="0" u="none">
          <a:solidFill>
            <a:schemeClr val="bg2"/>
          </a:solidFill>
          <a:latin typeface="Bosch Office Sans" panose="020B0604020202020204" pitchFamily="34" charset="0"/>
          <a:cs typeface="Arial" pitchFamily="34" charset="0"/>
        </a:defRPr>
      </a:lvl5pPr>
      <a:lvl6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6pPr>
      <a:lvl7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7pPr>
      <a:lvl8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8pPr>
      <a:lvl9pPr marL="0" indent="0" algn="l" rtl="0" eaLnBrk="1" fontAlgn="base" hangingPunct="1">
        <a:lnSpc>
          <a:spcPts val="1600"/>
        </a:lnSpc>
        <a:spcBef>
          <a:spcPts val="500"/>
        </a:spcBef>
        <a:spcAft>
          <a:spcPct val="0"/>
        </a:spcAft>
        <a:buClrTx/>
        <a:buSzPct val="100000"/>
        <a:buFontTx/>
        <a:buNone/>
        <a:defRPr sz="1300" b="0" i="0" u="none">
          <a:solidFill>
            <a:schemeClr val="tx1"/>
          </a:solidFill>
          <a:latin typeface="Bosch Office Sans" panose="020B0604020202020204" pitchFamily="34" charset="0"/>
          <a:cs typeface="Arial" pitchFamily="34" charset="0"/>
        </a:defRPr>
      </a:lvl9pPr>
    </p:bodyStyle>
    <p:otherStyle>
      <a:defPPr>
        <a:defRPr lang="de-DE"/>
      </a:defPPr>
      <a:lvl1pPr marL="0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1pPr>
      <a:lvl2pPr marL="411137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2pPr>
      <a:lvl3pPr marL="822273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3pPr>
      <a:lvl4pPr marL="1233409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4pPr>
      <a:lvl5pPr marL="1644545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5pPr>
      <a:lvl6pPr marL="2055681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6pPr>
      <a:lvl7pPr marL="2466818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7pPr>
      <a:lvl8pPr marL="2877954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8pPr>
      <a:lvl9pPr marL="3289090" algn="l" defTabSz="822273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Relationship Id="rId9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6" Type="http://schemas.openxmlformats.org/officeDocument/2006/relationships/image" Target="../media/image6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image" Target="../media/image1.png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log.bosch-si.com/" TargetMode="External"/><Relationship Id="rId13" Type="http://schemas.openxmlformats.org/officeDocument/2006/relationships/image" Target="../media/image10.png"/><Relationship Id="rId18" Type="http://schemas.openxmlformats.org/officeDocument/2006/relationships/image" Target="../media/image13.jpeg"/><Relationship Id="rId3" Type="http://schemas.openxmlformats.org/officeDocument/2006/relationships/tags" Target="../tags/tag25.xml"/><Relationship Id="rId7" Type="http://schemas.openxmlformats.org/officeDocument/2006/relationships/image" Target="../media/image7.png"/><Relationship Id="rId12" Type="http://schemas.openxmlformats.org/officeDocument/2006/relationships/hyperlink" Target="https://www.linkedin.com/company/1667788?trk=vsrp_companies_res_name&amp;trkInfo=VSRPsearchId:96774981438543885178,VSRPtargetId:1667788,VSRPcmpt:primary" TargetMode="External"/><Relationship Id="rId17" Type="http://schemas.openxmlformats.org/officeDocument/2006/relationships/image" Target="../media/image12.png"/><Relationship Id="rId2" Type="http://schemas.openxmlformats.org/officeDocument/2006/relationships/tags" Target="../tags/tag24.xml"/><Relationship Id="rId16" Type="http://schemas.openxmlformats.org/officeDocument/2006/relationships/hyperlink" Target="https://www.xing.com/companies/boschsoftwareinnovationsgmbh" TargetMode="External"/><Relationship Id="rId20" Type="http://schemas.openxmlformats.org/officeDocument/2006/relationships/image" Target="../media/image2.png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9.png"/><Relationship Id="rId5" Type="http://schemas.openxmlformats.org/officeDocument/2006/relationships/tags" Target="../tags/tag27.xml"/><Relationship Id="rId15" Type="http://schemas.openxmlformats.org/officeDocument/2006/relationships/image" Target="../media/image11.png"/><Relationship Id="rId10" Type="http://schemas.openxmlformats.org/officeDocument/2006/relationships/hyperlink" Target="https://twitter.com/BoschSI" TargetMode="External"/><Relationship Id="rId19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8.png"/><Relationship Id="rId14" Type="http://schemas.openxmlformats.org/officeDocument/2006/relationships/hyperlink" Target="https://www.youtube.com/user/InnovationsSoftware/video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970260" cy="617093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6" name="Titel 15"/>
          <p:cNvSpPr>
            <a:spLocks noGrp="1"/>
          </p:cNvSpPr>
          <p:nvPr>
            <p:ph type="ctrTitle"/>
          </p:nvPr>
        </p:nvSpPr>
        <p:spPr>
          <a:xfrm>
            <a:off x="345435" y="259068"/>
            <a:ext cx="10295833" cy="3046988"/>
          </a:xfrm>
        </p:spPr>
        <p:txBody>
          <a:bodyPr/>
          <a:lstStyle/>
          <a:p>
            <a:r>
              <a:rPr lang="en-US" sz="6600" dirty="0" smtClean="0"/>
              <a:t>#BCX17</a:t>
            </a:r>
            <a:br>
              <a:rPr lang="en-US" sz="6600" dirty="0" smtClean="0"/>
            </a:br>
            <a:r>
              <a:rPr lang="en-US" sz="6600" dirty="0" smtClean="0"/>
              <a:t>Connected Building</a:t>
            </a:r>
            <a:br>
              <a:rPr lang="en-US" sz="6600" dirty="0" smtClean="0"/>
            </a:br>
            <a:r>
              <a:rPr lang="en-US" sz="6600" dirty="0" smtClean="0"/>
              <a:t>&amp; CITY</a:t>
            </a:r>
            <a:endParaRPr lang="en-US" dirty="0"/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Bosch surveillance cameras</a:t>
            </a:r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9745573" y="213"/>
            <a:ext cx="1224049" cy="6170400"/>
            <a:chOff x="9745573" y="213"/>
            <a:chExt cx="1224049" cy="6170400"/>
          </a:xfrm>
        </p:grpSpPr>
        <p:pic>
          <p:nvPicPr>
            <p:cNvPr id="8" name="Grafik 7"/>
            <p:cNvPicPr>
              <a:picLocks/>
            </p:cNvPicPr>
            <p:nvPr userDrawn="1">
              <p:custDataLst>
                <p:tags r:id="rId4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0093" y="213"/>
              <a:ext cx="129529" cy="6170400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10" name="Gruppieren 9"/>
            <p:cNvGrpSpPr>
              <a:grpSpLocks noChangeAspect="1"/>
            </p:cNvGrpSpPr>
            <p:nvPr/>
          </p:nvGrpSpPr>
          <p:grpSpPr>
            <a:xfrm>
              <a:off x="9745573" y="5465954"/>
              <a:ext cx="1094400" cy="575132"/>
              <a:chOff x="10829242" y="6074983"/>
              <a:chExt cx="1216420" cy="639256"/>
            </a:xfrm>
          </p:grpSpPr>
          <p:sp>
            <p:nvSpPr>
              <p:cNvPr id="11" name="Rechteck 10"/>
              <p:cNvSpPr/>
              <p:nvPr userDrawn="1"/>
            </p:nvSpPr>
            <p:spPr>
              <a:xfrm>
                <a:off x="10829242" y="6074983"/>
                <a:ext cx="1216420" cy="6392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5" name="Picture 2"/>
              <p:cNvPicPr>
                <a:picLocks noChangeAspect="1" noChangeArrowheads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46605" y="6286741"/>
                <a:ext cx="957600" cy="2183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3184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4106832" y="1298529"/>
            <a:ext cx="2513044" cy="189577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33161" y="3377906"/>
            <a:ext cx="6286714" cy="20427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33162" y="1298531"/>
            <a:ext cx="3590064" cy="1895773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sch surveillance </a:t>
            </a:r>
            <a:r>
              <a:rPr lang="en-US" dirty="0" smtClean="0"/>
              <a:t>cameras on #</a:t>
            </a:r>
            <a:r>
              <a:rPr lang="en-US" dirty="0" smtClean="0"/>
              <a:t>BCX17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>
                <a:solidFill>
                  <a:srgbClr val="0E78C5"/>
                </a:solidFill>
              </a:rPr>
              <a:t>Information for Hackers</a:t>
            </a:r>
            <a:endParaRPr lang="en-US" dirty="0">
              <a:solidFill>
                <a:srgbClr val="0E78C5"/>
              </a:solidFill>
            </a:endParaRPr>
          </a:p>
        </p:txBody>
      </p:sp>
      <p:sp>
        <p:nvSpPr>
          <p:cNvPr id="5" name="Textplatzhalter 6"/>
          <p:cNvSpPr txBox="1">
            <a:spLocks/>
          </p:cNvSpPr>
          <p:nvPr/>
        </p:nvSpPr>
        <p:spPr bwMode="auto">
          <a:xfrm>
            <a:off x="423162" y="1628775"/>
            <a:ext cx="3382612" cy="77457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/>
              <a:t>Optical sensor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/>
              <a:t>Audio sensor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smtClean="0"/>
              <a:t>Events</a:t>
            </a:r>
            <a:endParaRPr lang="en-US" sz="1400" i="1" kern="0" dirty="0"/>
          </a:p>
        </p:txBody>
      </p:sp>
      <p:sp>
        <p:nvSpPr>
          <p:cNvPr id="6" name="Textplatzhalter 7"/>
          <p:cNvSpPr txBox="1">
            <a:spLocks/>
          </p:cNvSpPr>
          <p:nvPr/>
        </p:nvSpPr>
        <p:spPr bwMode="auto">
          <a:xfrm>
            <a:off x="4254836" y="1628774"/>
            <a:ext cx="2203262" cy="1420902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err="1" smtClean="0"/>
              <a:t>Webbrowser</a:t>
            </a:r>
            <a:r>
              <a:rPr lang="en-US" sz="1400" i="1" kern="0" dirty="0" smtClean="0"/>
              <a:t> (recommended IE with ActiveX enabled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de-DE" sz="1400" i="1" kern="0" dirty="0" err="1" smtClean="0"/>
              <a:t>BoschVideoSDK</a:t>
            </a:r>
            <a:endParaRPr lang="de-DE" sz="1400" i="1" kern="0" dirty="0" smtClean="0"/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de-DE" sz="1400" i="1" kern="0" dirty="0" smtClean="0"/>
              <a:t>RTSP </a:t>
            </a:r>
            <a:r>
              <a:rPr lang="de-DE" sz="1400" i="1" kern="0" dirty="0" err="1" smtClean="0"/>
              <a:t>client</a:t>
            </a:r>
            <a:r>
              <a:rPr lang="de-DE" sz="1400" i="1" kern="0" dirty="0" smtClean="0"/>
              <a:t> (e.g. VLC </a:t>
            </a:r>
            <a:r>
              <a:rPr lang="de-DE" sz="1400" i="1" kern="0" dirty="0" err="1" smtClean="0"/>
              <a:t>player</a:t>
            </a:r>
            <a:r>
              <a:rPr lang="de-DE" sz="1400" i="1" kern="0" dirty="0" smtClean="0"/>
              <a:t>)</a:t>
            </a:r>
            <a:endParaRPr lang="en-US" sz="1400" i="1" kern="0" dirty="0"/>
          </a:p>
        </p:txBody>
      </p:sp>
      <p:sp>
        <p:nvSpPr>
          <p:cNvPr id="7" name="Textplatzhalter 8"/>
          <p:cNvSpPr txBox="1">
            <a:spLocks/>
          </p:cNvSpPr>
          <p:nvPr/>
        </p:nvSpPr>
        <p:spPr bwMode="auto">
          <a:xfrm>
            <a:off x="423160" y="3560698"/>
            <a:ext cx="4690387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defTabSz="914504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</a:pPr>
            <a:r>
              <a:rPr lang="en-US" sz="1600" b="1" kern="1200" dirty="0" smtClean="0">
                <a:solidFill>
                  <a:schemeClr val="bg1"/>
                </a:solidFill>
                <a:latin typeface="+mn-lt"/>
                <a:cs typeface="+mn-cs"/>
              </a:rPr>
              <a:t>Anything else that is important for the hackers?</a:t>
            </a:r>
            <a:endParaRPr lang="en-US" sz="1600" b="1" kern="12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Textplatzhalter 9"/>
          <p:cNvSpPr txBox="1">
            <a:spLocks/>
          </p:cNvSpPr>
          <p:nvPr/>
        </p:nvSpPr>
        <p:spPr bwMode="auto">
          <a:xfrm>
            <a:off x="423160" y="3892485"/>
            <a:ext cx="6034937" cy="1549142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err="1" smtClean="0">
                <a:solidFill>
                  <a:schemeClr val="bg1"/>
                </a:solidFill>
              </a:rPr>
              <a:t>MicrosoftCognitiveServiceExample</a:t>
            </a:r>
            <a:r>
              <a:rPr lang="en-US" sz="1400" i="1" kern="0" dirty="0" smtClean="0">
                <a:solidFill>
                  <a:schemeClr val="bg1"/>
                </a:solidFill>
              </a:rPr>
              <a:t> (C# example for connection to the camera and analyze data via MS </a:t>
            </a:r>
            <a:r>
              <a:rPr lang="en-US" sz="1400" i="1" kern="0" dirty="0" err="1" smtClean="0">
                <a:solidFill>
                  <a:schemeClr val="bg1"/>
                </a:solidFill>
              </a:rPr>
              <a:t>Cognitve</a:t>
            </a:r>
            <a:r>
              <a:rPr lang="en-US" sz="1400" i="1" kern="0" dirty="0" smtClean="0">
                <a:solidFill>
                  <a:schemeClr val="bg1"/>
                </a:solidFill>
              </a:rPr>
              <a:t> Services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>
                <a:solidFill>
                  <a:schemeClr val="bg1"/>
                </a:solidFill>
              </a:rPr>
              <a:t>Alarm task script example (own Bosch script language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>
                <a:solidFill>
                  <a:schemeClr val="bg1"/>
                </a:solidFill>
              </a:rPr>
              <a:t>RCP+ and </a:t>
            </a:r>
            <a:r>
              <a:rPr lang="en-US" sz="1400" i="1" kern="0" dirty="0" err="1" smtClean="0">
                <a:solidFill>
                  <a:schemeClr val="bg1"/>
                </a:solidFill>
              </a:rPr>
              <a:t>VideoSDK</a:t>
            </a:r>
            <a:r>
              <a:rPr lang="en-US" sz="1400" i="1" kern="0" dirty="0" smtClean="0">
                <a:solidFill>
                  <a:schemeClr val="bg1"/>
                </a:solidFill>
              </a:rPr>
              <a:t> documentation will be provided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err="1">
                <a:solidFill>
                  <a:schemeClr val="bg1"/>
                </a:solidFill>
              </a:rPr>
              <a:t>CognitiveServiceExample</a:t>
            </a:r>
            <a:r>
              <a:rPr lang="en-US" sz="1400" i="1" kern="0" dirty="0">
                <a:solidFill>
                  <a:schemeClr val="bg1"/>
                </a:solidFill>
              </a:rPr>
              <a:t> (Java example </a:t>
            </a:r>
            <a:r>
              <a:rPr lang="en-US" sz="1400" i="1" kern="0" dirty="0" smtClean="0">
                <a:solidFill>
                  <a:schemeClr val="bg1"/>
                </a:solidFill>
              </a:rPr>
              <a:t>[in </a:t>
            </a:r>
            <a:r>
              <a:rPr lang="en-US" sz="1400" i="1" kern="0" dirty="0" err="1" smtClean="0">
                <a:solidFill>
                  <a:schemeClr val="bg1"/>
                </a:solidFill>
              </a:rPr>
              <a:t>Arbeit</a:t>
            </a:r>
            <a:r>
              <a:rPr lang="en-US" sz="1400" i="1" kern="0" dirty="0" smtClean="0">
                <a:solidFill>
                  <a:schemeClr val="bg1"/>
                </a:solidFill>
              </a:rPr>
              <a:t>])</a:t>
            </a:r>
            <a:endParaRPr lang="en-US" sz="1400" i="1" kern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</a:pPr>
            <a:endParaRPr lang="en-US" sz="1400" i="1" kern="0" dirty="0" smtClean="0">
              <a:solidFill>
                <a:schemeClr val="bg1"/>
              </a:solidFill>
            </a:endParaRPr>
          </a:p>
        </p:txBody>
      </p:sp>
      <p:sp>
        <p:nvSpPr>
          <p:cNvPr id="9" name="Textplatzhalter 4"/>
          <p:cNvSpPr txBox="1">
            <a:spLocks/>
          </p:cNvSpPr>
          <p:nvPr/>
        </p:nvSpPr>
        <p:spPr bwMode="auto">
          <a:xfrm>
            <a:off x="423161" y="1343025"/>
            <a:ext cx="3403176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lvl="0"/>
            <a:r>
              <a:rPr lang="de-DE" dirty="0"/>
              <a:t>Which (telemety) data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10" name="Textplatzhalter 5"/>
          <p:cNvSpPr txBox="1">
            <a:spLocks/>
          </p:cNvSpPr>
          <p:nvPr/>
        </p:nvSpPr>
        <p:spPr bwMode="auto">
          <a:xfrm>
            <a:off x="4254836" y="1343025"/>
            <a:ext cx="2098331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r>
              <a:rPr lang="en-US" dirty="0" smtClean="0"/>
              <a:t>How to access data?</a:t>
            </a:r>
            <a:endParaRPr lang="en-US" dirty="0"/>
          </a:p>
        </p:txBody>
      </p:sp>
      <p:sp>
        <p:nvSpPr>
          <p:cNvPr id="51" name="Rechteck 50"/>
          <p:cNvSpPr/>
          <p:nvPr/>
        </p:nvSpPr>
        <p:spPr>
          <a:xfrm>
            <a:off x="6803482" y="1298529"/>
            <a:ext cx="3902616" cy="1895773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2" name="Textplatzhalter 6_"/>
          <p:cNvSpPr txBox="1">
            <a:spLocks/>
          </p:cNvSpPr>
          <p:nvPr/>
        </p:nvSpPr>
        <p:spPr bwMode="auto">
          <a:xfrm>
            <a:off x="6970411" y="1876547"/>
            <a:ext cx="3547193" cy="1333698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/>
              <a:t>Get </a:t>
            </a:r>
            <a:r>
              <a:rPr lang="en-US" sz="1400" i="1" kern="0" dirty="0" err="1" smtClean="0"/>
              <a:t>Videostream</a:t>
            </a:r>
            <a:r>
              <a:rPr lang="en-US" sz="1400" i="1" kern="0" dirty="0" smtClean="0"/>
              <a:t> (RTSP, RTP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smtClean="0"/>
              <a:t>Interfaces </a:t>
            </a:r>
            <a:r>
              <a:rPr lang="en-US" sz="1400" i="1" kern="0" dirty="0" smtClean="0"/>
              <a:t>HTTP / RCPP </a:t>
            </a:r>
            <a:r>
              <a:rPr lang="en-US" sz="1400" i="1" kern="0" smtClean="0"/>
              <a:t>/ CGI / ONVIF</a:t>
            </a:r>
            <a:endParaRPr lang="en-US" sz="1400" i="1" kern="0" dirty="0" smtClean="0"/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/>
              <a:t>Set up IVA tasks (ActiveX)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/>
              <a:t>Get autonomous triggered alarms / events </a:t>
            </a:r>
          </a:p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en-US" sz="1400" i="1" kern="0" dirty="0" smtClean="0"/>
              <a:t>Alarm email / messages</a:t>
            </a:r>
            <a:endParaRPr lang="en-US" sz="1400" i="1" kern="0" dirty="0"/>
          </a:p>
        </p:txBody>
      </p:sp>
      <p:sp>
        <p:nvSpPr>
          <p:cNvPr id="53" name="Textplatzhalter 4_"/>
          <p:cNvSpPr txBox="1">
            <a:spLocks/>
          </p:cNvSpPr>
          <p:nvPr/>
        </p:nvSpPr>
        <p:spPr bwMode="auto">
          <a:xfrm>
            <a:off x="6970411" y="1344576"/>
            <a:ext cx="3568758" cy="492443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lvl="0"/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ter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evice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54" name="Rechteck 53"/>
          <p:cNvSpPr/>
          <p:nvPr/>
        </p:nvSpPr>
        <p:spPr>
          <a:xfrm>
            <a:off x="6803482" y="3377906"/>
            <a:ext cx="3902616" cy="204272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504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5" name="Textplatzhalter 7_"/>
          <p:cNvSpPr txBox="1">
            <a:spLocks/>
          </p:cNvSpPr>
          <p:nvPr/>
        </p:nvSpPr>
        <p:spPr bwMode="auto">
          <a:xfrm>
            <a:off x="6951486" y="3855105"/>
            <a:ext cx="3566118" cy="43088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None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Arial" pitchFamily="34" charset="0"/>
              </a:defRPr>
            </a:lvl1pPr>
            <a:lvl2pPr marL="250825" indent="-250825" algn="l" rtl="0" eaLnBrk="1" fontAlgn="base" hangingPunct="1">
              <a:lnSpc>
                <a:spcPts val="2300"/>
              </a:lnSpc>
              <a:spcBef>
                <a:spcPts val="500"/>
              </a:spcBef>
              <a:spcAft>
                <a:spcPct val="0"/>
              </a:spcAft>
              <a:buClrTx/>
              <a:buSzPct val="80000"/>
              <a:buFont typeface="Wingdings 3" panose="05040102010807070707" pitchFamily="18" charset="2"/>
              <a:buChar char="u"/>
              <a:defRPr sz="18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pPr marL="216000" indent="-216000">
              <a:lnSpc>
                <a:spcPct val="100000"/>
              </a:lnSpc>
              <a:buFont typeface="Wingdings 3" panose="05040102010807070707" pitchFamily="18" charset="2"/>
              <a:buChar char="u"/>
            </a:pPr>
            <a:r>
              <a:rPr lang="de-DE" sz="1400" i="1" kern="0" dirty="0" smtClean="0"/>
              <a:t>Generally all </a:t>
            </a:r>
            <a:r>
              <a:rPr lang="de-DE" sz="1400" i="1" kern="0" dirty="0" err="1" smtClean="0"/>
              <a:t>alarm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tasks</a:t>
            </a:r>
            <a:r>
              <a:rPr lang="de-DE" sz="1400" i="1" kern="0" dirty="0" smtClean="0"/>
              <a:t> / </a:t>
            </a:r>
            <a:r>
              <a:rPr lang="de-DE" sz="1400" i="1" kern="0" dirty="0" err="1" smtClean="0"/>
              <a:t>rules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which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can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triggered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with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the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camera</a:t>
            </a:r>
            <a:r>
              <a:rPr lang="de-DE" sz="1400" i="1" kern="0" dirty="0" smtClean="0"/>
              <a:t> (</a:t>
            </a:r>
            <a:r>
              <a:rPr lang="de-DE" sz="1400" i="1" kern="0" dirty="0" err="1" smtClean="0"/>
              <a:t>see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next</a:t>
            </a:r>
            <a:r>
              <a:rPr lang="de-DE" sz="1400" i="1" kern="0" dirty="0" smtClean="0"/>
              <a:t> </a:t>
            </a:r>
            <a:r>
              <a:rPr lang="de-DE" sz="1400" i="1" kern="0" dirty="0" err="1" smtClean="0"/>
              <a:t>slide</a:t>
            </a:r>
            <a:r>
              <a:rPr lang="de-DE" sz="1400" i="1" kern="0" dirty="0" smtClean="0"/>
              <a:t>)</a:t>
            </a:r>
          </a:p>
        </p:txBody>
      </p:sp>
      <p:sp>
        <p:nvSpPr>
          <p:cNvPr id="57" name="Textplatzhalter 5_"/>
          <p:cNvSpPr txBox="1">
            <a:spLocks/>
          </p:cNvSpPr>
          <p:nvPr/>
        </p:nvSpPr>
        <p:spPr bwMode="auto">
          <a:xfrm>
            <a:off x="6951486" y="3569356"/>
            <a:ext cx="2624116" cy="24622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None/>
              <a:defRPr lang="de-DE" sz="1600" b="1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504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lang="en-US" sz="1600" b="0" i="0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8000" indent="-180000" algn="l" rtl="0" eaLnBrk="1" fontAlgn="base" hangingPunct="1">
              <a:lnSpc>
                <a:spcPts val="20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6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3pPr>
            <a:lvl4pPr marL="648000" indent="-180000" algn="l" rtl="0" eaLnBrk="1" fontAlgn="base" hangingPunct="1">
              <a:lnSpc>
                <a:spcPts val="17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Symbol" panose="05050102010706020507" pitchFamily="18" charset="2"/>
              <a:buChar char="-"/>
              <a:defRPr sz="14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4pPr>
            <a:lvl5pPr marL="864000" indent="-18000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»"/>
              <a:defRPr sz="1300" b="0" i="0" u="none">
                <a:solidFill>
                  <a:schemeClr val="bg2"/>
                </a:solidFill>
                <a:latin typeface="Bosch Office Sans" panose="020B0604020202020204" pitchFamily="34" charset="0"/>
                <a:cs typeface="Arial" pitchFamily="34" charset="0"/>
              </a:defRPr>
            </a:lvl5pPr>
            <a:lvl6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6pPr>
            <a:lvl7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7pPr>
            <a:lvl8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8pPr>
            <a:lvl9pPr marL="0" indent="0" algn="l" rtl="0" eaLnBrk="1" fontAlgn="base" hangingPunct="1">
              <a:lnSpc>
                <a:spcPts val="1600"/>
              </a:lnSpc>
              <a:spcBef>
                <a:spcPts val="500"/>
              </a:spcBef>
              <a:spcAft>
                <a:spcPct val="0"/>
              </a:spcAft>
              <a:buClrTx/>
              <a:buSzPct val="100000"/>
              <a:buFontTx/>
              <a:buNone/>
              <a:defRPr sz="1300" b="0" i="0" u="none">
                <a:solidFill>
                  <a:schemeClr val="tx1"/>
                </a:solidFill>
                <a:latin typeface="Bosch Office Sans" panose="020B0604020202020204" pitchFamily="34" charset="0"/>
                <a:cs typeface="Arial" pitchFamily="34" charset="0"/>
              </a:defRPr>
            </a:lvl9pPr>
          </a:lstStyle>
          <a:p>
            <a:r>
              <a:rPr lang="en-US" dirty="0" smtClean="0"/>
              <a:t>What events are availabl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29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6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Grafik 10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feld 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9080" y="259080"/>
            <a:ext cx="10452100" cy="38862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89000"/>
              </a:lnSpc>
            </a:pPr>
            <a:endParaRPr lang="en-US" sz="2800" dirty="0" err="1" smtClean="0"/>
          </a:p>
        </p:txBody>
      </p:sp>
      <p:sp>
        <p:nvSpPr>
          <p:cNvPr id="9" name="Rechteck 8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504">
              <a:lnSpc>
                <a:spcPct val="107000"/>
              </a:lnSpc>
              <a:spcAft>
                <a:spcPts val="100"/>
              </a:spcAft>
            </a:pPr>
            <a:r>
              <a:rPr lang="en-US" sz="600" b="1" smtClean="0">
                <a:solidFill>
                  <a:srgbClr val="D70012"/>
                </a:solidFill>
              </a:rPr>
              <a:t>Internal </a:t>
            </a:r>
            <a:r>
              <a:rPr lang="en-US" sz="600" smtClean="0">
                <a:solidFill>
                  <a:srgbClr val="000000"/>
                </a:solidFill>
                <a:latin typeface="Bosch Office Sans" panose="020B0604020202020204" pitchFamily="34" charset="0"/>
              </a:rPr>
              <a:t>| Business Unit, Department | --/--/----</a:t>
            </a:r>
            <a:endParaRPr lang="en-US" sz="600" dirty="0" err="1">
              <a:solidFill>
                <a:srgbClr val="000000"/>
              </a:solidFill>
              <a:latin typeface="Bosch Office Sans" panose="020B0604020202020204" pitchFamily="34" charset="0"/>
            </a:endParaRPr>
          </a:p>
        </p:txBody>
      </p:sp>
      <p:sp>
        <p:nvSpPr>
          <p:cNvPr id="8" name="Rechteck 7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593090" y="5758180"/>
            <a:ext cx="915289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504">
              <a:lnSpc>
                <a:spcPct val="107000"/>
              </a:lnSpc>
              <a:spcAft>
                <a:spcPts val="100"/>
              </a:spcAft>
            </a:pPr>
            <a:r>
              <a:rPr lang="en-US" sz="600" smtClean="0">
                <a:solidFill>
                  <a:srgbClr val="B2B3B5"/>
                </a:solidFill>
              </a:rPr>
              <a:t>© Robert Bosch GmbH 2016. All rights reserved, also regarding any disposal, exploitation, reproduction, editing, distribution, as well as in the event of applications for industrial property rights.</a:t>
            </a:r>
            <a:endParaRPr lang="en-US" sz="600" dirty="0" err="1">
              <a:solidFill>
                <a:srgbClr val="B2B3B5"/>
              </a:solidFill>
            </a:endParaRPr>
          </a:p>
        </p:txBody>
      </p:sp>
      <p:sp>
        <p:nvSpPr>
          <p:cNvPr id="7" name="Rechteck 6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66700" y="5628640"/>
            <a:ext cx="288290" cy="410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504"/>
            <a:r>
              <a:rPr lang="en-US" sz="1200" smtClean="0">
                <a:solidFill>
                  <a:srgbClr val="999FA6"/>
                </a:solidFill>
              </a:rPr>
              <a:t>3</a:t>
            </a:r>
            <a:endParaRPr lang="en-US" sz="1200" dirty="0" err="1">
              <a:solidFill>
                <a:srgbClr val="999FA6"/>
              </a:solidFill>
            </a:endParaRPr>
          </a:p>
        </p:txBody>
      </p:sp>
      <p:pic>
        <p:nvPicPr>
          <p:cNvPr id="6" name="Grafik 5"/>
          <p:cNvPicPr>
            <a:picLocks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6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Grafik 4"/>
          <p:cNvPicPr>
            <a:picLocks/>
          </p:cNvPicPr>
          <p:nvPr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Rechteck 3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778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defTabSz="914504">
              <a:lnSpc>
                <a:spcPts val="900"/>
              </a:lnSpc>
            </a:pPr>
            <a:endParaRPr lang="en-US" sz="550" dirty="0" err="1">
              <a:solidFill>
                <a:schemeClr val="tx1"/>
              </a:solidFill>
            </a:endParaRPr>
          </a:p>
        </p:txBody>
      </p:sp>
      <p:sp>
        <p:nvSpPr>
          <p:cNvPr id="3" name="Textfeld 2" hidden="1"/>
          <p:cNvSpPr txBox="1"/>
          <p:nvPr>
            <p:custDataLst>
              <p:tags r:id="rId11"/>
            </p:custDataLst>
          </p:nvPr>
        </p:nvSpPr>
        <p:spPr>
          <a:xfrm>
            <a:off x="0" y="5975350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endParaRPr lang="en-US" sz="1300" dirty="0" err="1" smtClean="0"/>
          </a:p>
        </p:txBody>
      </p:sp>
      <p:pic>
        <p:nvPicPr>
          <p:cNvPr id="13" name="Grafik 12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89" y="0"/>
            <a:ext cx="10058400" cy="60473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417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970260" cy="617093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45435" y="259068"/>
            <a:ext cx="10295833" cy="196977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Your Contac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4800" dirty="0" smtClean="0">
                <a:solidFill>
                  <a:schemeClr val="tx1"/>
                </a:solidFill>
              </a:rPr>
              <a:t>#BCX1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4"/>
            </p:custDataLst>
          </p:nvPr>
        </p:nvSpPr>
        <p:spPr>
          <a:xfrm>
            <a:off x="345435" y="2935902"/>
            <a:ext cx="3149901" cy="7386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buClr>
                <a:schemeClr val="accent1"/>
              </a:buClr>
              <a:buSzPct val="100000"/>
            </a:pPr>
            <a:r>
              <a:rPr lang="en-US" sz="1600" b="1" dirty="0" smtClean="0"/>
              <a:t>David Lauterbach</a:t>
            </a:r>
            <a:endParaRPr lang="en-US" sz="1600" b="1" dirty="0"/>
          </a:p>
          <a:p>
            <a:pPr>
              <a:buClr>
                <a:schemeClr val="accent1"/>
              </a:buClr>
              <a:buSzPct val="100000"/>
            </a:pPr>
            <a:r>
              <a:rPr lang="en-US" sz="1600" dirty="0"/>
              <a:t>David.Lauterbach@de.bosch.com </a:t>
            </a:r>
            <a:endParaRPr lang="en-US" sz="1600" dirty="0" smtClean="0"/>
          </a:p>
          <a:p>
            <a:pPr>
              <a:buClr>
                <a:schemeClr val="accent1"/>
              </a:buClr>
              <a:buSzPct val="100000"/>
            </a:pPr>
            <a:r>
              <a:rPr lang="de-DE" sz="1600" dirty="0"/>
              <a:t>+49(911)93456-175</a:t>
            </a:r>
            <a:endParaRPr lang="en-US" sz="1600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333161" y="5030022"/>
            <a:ext cx="2262571" cy="428669"/>
            <a:chOff x="333161" y="5030022"/>
            <a:chExt cx="2262571" cy="428669"/>
          </a:xfrm>
        </p:grpSpPr>
        <p:pic>
          <p:nvPicPr>
            <p:cNvPr id="12" name="Grafik 11">
              <a:hlinkClick r:id="rId8"/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799" b="76906"/>
            <a:stretch/>
          </p:blipFill>
          <p:spPr>
            <a:xfrm>
              <a:off x="1645979" y="5390821"/>
              <a:ext cx="949753" cy="67870"/>
            </a:xfrm>
            <a:prstGeom prst="rect">
              <a:avLst/>
            </a:prstGeom>
          </p:spPr>
        </p:pic>
        <p:pic>
          <p:nvPicPr>
            <p:cNvPr id="13" name="Grafik 12">
              <a:hlinkClick r:id="rId10"/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3161" y="5248419"/>
              <a:ext cx="210272" cy="210272"/>
            </a:xfrm>
            <a:prstGeom prst="rect">
              <a:avLst/>
            </a:prstGeom>
          </p:spPr>
        </p:pic>
        <p:pic>
          <p:nvPicPr>
            <p:cNvPr id="15" name="Grafik 14">
              <a:hlinkClick r:id="rId12"/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0758" y="5248419"/>
              <a:ext cx="210272" cy="210272"/>
            </a:xfrm>
            <a:prstGeom prst="rect">
              <a:avLst/>
            </a:prstGeom>
          </p:spPr>
        </p:pic>
        <p:pic>
          <p:nvPicPr>
            <p:cNvPr id="16" name="Grafik 15">
              <a:hlinkClick r:id="rId14"/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559" y="5248419"/>
              <a:ext cx="210272" cy="210272"/>
            </a:xfrm>
            <a:prstGeom prst="rect">
              <a:avLst/>
            </a:prstGeom>
          </p:spPr>
        </p:pic>
        <p:pic>
          <p:nvPicPr>
            <p:cNvPr id="17" name="Grafik 16">
              <a:hlinkClick r:id="rId16"/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2360" y="5248419"/>
              <a:ext cx="210272" cy="210272"/>
            </a:xfrm>
            <a:prstGeom prst="rect">
              <a:avLst/>
            </a:prstGeom>
          </p:spPr>
        </p:pic>
        <p:sp>
          <p:nvSpPr>
            <p:cNvPr id="18" name="Textplatzhalter 2"/>
            <p:cNvSpPr txBox="1">
              <a:spLocks/>
            </p:cNvSpPr>
            <p:nvPr/>
          </p:nvSpPr>
          <p:spPr bwMode="auto">
            <a:xfrm>
              <a:off x="333161" y="5030022"/>
              <a:ext cx="751809" cy="158890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3213" indent="-303213" algn="l" defTabSz="838200" rtl="0" eaLnBrk="0" fontAlgn="base" hangingPunct="0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25C8F"/>
                </a:buClr>
                <a:buSzPct val="65000"/>
                <a:buFont typeface="Wingdings" pitchFamily="2" charset="2"/>
                <a:buChar char="è"/>
                <a:defRPr sz="1800">
                  <a:solidFill>
                    <a:srgbClr val="000000"/>
                  </a:solidFill>
                  <a:latin typeface="Bosch Office Sans"/>
                  <a:ea typeface="+mn-ea"/>
                  <a:cs typeface="+mn-cs"/>
                </a:defRPr>
              </a:lvl1pPr>
              <a:lvl2pPr marL="608013" indent="-188913" algn="l" defTabSz="838200" rtl="0" eaLnBrk="0" fontAlgn="base" hangingPunct="0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25C8F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Bosch Office Sans"/>
                </a:defRPr>
              </a:lvl2pPr>
              <a:lvl3pPr marL="912813" indent="-188913" algn="l" defTabSz="838200" rtl="0" eaLnBrk="0" fontAlgn="base" hangingPunct="0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25C8F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Bosch Office Sans"/>
                </a:defRPr>
              </a:lvl3pPr>
              <a:lvl4pPr marL="1217613" indent="-188913" algn="l" defTabSz="838200" rtl="0" eaLnBrk="0" fontAlgn="base" hangingPunct="0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25C8F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Bosch Office Sans"/>
                </a:defRPr>
              </a:lvl4pPr>
              <a:lvl5pPr marL="1522413" indent="-188913" algn="l" defTabSz="838200" rtl="0" eaLnBrk="0" fontAlgn="base" hangingPunct="0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25C8F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Bosch Office Sans"/>
                </a:defRPr>
              </a:lvl5pPr>
              <a:lvl6pPr marL="1980186" indent="-190404" algn="l" defTabSz="839358" rtl="0" eaLnBrk="1" fontAlgn="base" hangingPunct="1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D7298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+mn-lt"/>
                </a:defRPr>
              </a:lvl6pPr>
              <a:lvl7pPr marL="2437152" indent="-190404" algn="l" defTabSz="839358" rtl="0" eaLnBrk="1" fontAlgn="base" hangingPunct="1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D7298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+mn-lt"/>
                </a:defRPr>
              </a:lvl7pPr>
              <a:lvl8pPr marL="2894118" indent="-190404" algn="l" defTabSz="839358" rtl="0" eaLnBrk="1" fontAlgn="base" hangingPunct="1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D7298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+mn-lt"/>
                </a:defRPr>
              </a:lvl8pPr>
              <a:lvl9pPr marL="3351083" indent="-190404" algn="l" defTabSz="839358" rtl="0" eaLnBrk="1" fontAlgn="base" hangingPunct="1">
                <a:lnSpc>
                  <a:spcPct val="111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D7298"/>
                </a:buClr>
                <a:buSzPct val="50000"/>
                <a:buFont typeface="Wingdings" pitchFamily="2" charset="2"/>
                <a:buChar char=""/>
                <a:defRPr sz="18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0" lvl="0" indent="0">
                <a:buNone/>
                <a:tabLst>
                  <a:tab pos="1074738" algn="l"/>
                </a:tabLst>
                <a:defRPr/>
              </a:pPr>
              <a:r>
                <a:rPr lang="fr-FR" sz="1000" kern="0" dirty="0" err="1"/>
                <a:t>Follow</a:t>
              </a:r>
              <a:r>
                <a:rPr lang="fr-FR" sz="1000" kern="0" dirty="0"/>
                <a:t> us on </a:t>
              </a: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098" t="10135" r="28152" b="23065"/>
            <a:stretch/>
          </p:blipFill>
          <p:spPr bwMode="auto">
            <a:xfrm>
              <a:off x="1369957" y="5248419"/>
              <a:ext cx="210272" cy="210272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9745573" y="213"/>
            <a:ext cx="1224049" cy="6170400"/>
            <a:chOff x="9745573" y="213"/>
            <a:chExt cx="1224049" cy="6170400"/>
          </a:xfrm>
        </p:grpSpPr>
        <p:pic>
          <p:nvPicPr>
            <p:cNvPr id="21" name="Grafik 20"/>
            <p:cNvPicPr>
              <a:picLocks/>
            </p:cNvPicPr>
            <p:nvPr userDrawn="1">
              <p:custDataLst>
                <p:tags r:id="rId5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0093" y="213"/>
              <a:ext cx="129529" cy="6170400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22" name="Gruppieren 21"/>
            <p:cNvGrpSpPr>
              <a:grpSpLocks noChangeAspect="1"/>
            </p:cNvGrpSpPr>
            <p:nvPr/>
          </p:nvGrpSpPr>
          <p:grpSpPr>
            <a:xfrm>
              <a:off x="9745573" y="5465954"/>
              <a:ext cx="1094400" cy="575132"/>
              <a:chOff x="10829242" y="6074983"/>
              <a:chExt cx="1216420" cy="639256"/>
            </a:xfrm>
          </p:grpSpPr>
          <p:sp>
            <p:nvSpPr>
              <p:cNvPr id="23" name="Rechteck 22"/>
              <p:cNvSpPr/>
              <p:nvPr userDrawn="1"/>
            </p:nvSpPr>
            <p:spPr>
              <a:xfrm>
                <a:off x="10829242" y="6074983"/>
                <a:ext cx="1216420" cy="6392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sz="14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4" name="Picture 2"/>
              <p:cNvPicPr>
                <a:picLocks noChangeAspect="1" noChangeArrowheads="1"/>
              </p:cNvPicPr>
              <p:nvPr userDrawn="1"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46605" y="6286741"/>
                <a:ext cx="957600" cy="2183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3504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I" val="1"/>
  <p:tag name="LAYOUTLANGUAGE" val="1033"/>
  <p:tag name="CFG.LAYOUT" val="BOSCH2"/>
  <p:tag name="CFG.CUSTOMERVERSION" val="9"/>
  <p:tag name="ML_1" val="RB_Sh"/>
  <p:tag name="ML_2" val="Bosch2.mcr"/>
  <p:tag name="ML_LAYOUT_RESOURCE" val="BOSCH2_16_9.mcr"/>
  <p:tag name="FIELD.CONF.SUFFIX.CONTENT" val="\n | "/>
  <p:tag name="FIELD.REM_ABL.SUFFIX.CONTENT" val="&#10;\n"/>
  <p:tag name="FIELD.COPY.CONTENT" val="© Robert Bosch GmbH 2016. All rights reserved, also regarding any disposal, exploitation, reproduction, editing, distribution, as well as in the event of applications for industrial property rights."/>
  <p:tag name="FIELD.COPY.VALUE" val="© Robert Bosch GmbH 2016. All rights reserved, also regarding any disposal, exploitation, reproduction, editing, distribution, as well as in the event of applications for industrial property rights."/>
  <p:tag name="FIELD.COPY.COMBOINDEX" val="0"/>
  <p:tag name="FIELD.BGROUP.SUFFIX.CONTENT" val=" | "/>
  <p:tag name="FIELD.BGROUP.COMBOINDEX" val="0"/>
  <p:tag name="FIELD.DPT.SUFFIX.CONTENT" val=" | "/>
  <p:tag name="MIWBCLNT.HOMEURL" val="\\FE02FS08.de.bosch.com\Corporate_Design_Folienbibliothek$\content\index.htm"/>
  <p:tag name="FIELDS.INITIALIZED" val="1"/>
  <p:tag name="FIELD.DATE.CONTENT" val="--/--/----"/>
  <p:tag name="FIELD.DATE.VALUE" val="--/--/----"/>
  <p:tag name="FIELD.DATE.COMBOINDEX" val="-2"/>
  <p:tag name="FIELD.CONF.CONTENT" val="Internal "/>
  <p:tag name="FIELD.CONF.VALUE" val="Internal \n | "/>
  <p:tag name="FIELD.CONF.COMBOINDEX" val="1"/>
  <p:tag name="FIELD.REM_ABL.COMBOINDEX" val="-2"/>
  <p:tag name="FIELD.REM_ANL.COMBOINDEX" val="-2"/>
  <p:tag name="FIELD.DPT.CONTENT" val="Business Unit, Department"/>
  <p:tag name="FIELD.DPT.VALUE" val="Business Unit, Department | "/>
  <p:tag name="FIELD.DPT.COMBOINDEX" val="-2"/>
  <p:tag name="CONFIG" val="BOSCH2"/>
  <p:tag name="CFG.VERSION" val="0"/>
  <p:tag name="CFG.LAYOUTID" val="Bosch Layout 16:9 (new colored style)"/>
  <p:tag name="CFG.LAYOUTRES" val="BOSCH2_16_9"/>
  <p:tag name="MAPNAME" val="Map1"/>
  <p:tag name="LICENSEKEY" val="46504b9e-b1c9-48ed-967f-a36de42ae84b"/>
  <p:tag name="TITLEMASTERMASTERNAME" val="TitleSlide"/>
  <p:tag name="TITLEMASTERSHAPESETGROUPCLASSNAME" val="ShapeSetGroup1"/>
  <p:tag name="TITLEMASTERCOLORSETGROUPCLASSNAME" val="ColorSetGroup5"/>
  <p:tag name="TITLEMASTERFONTSETGROUPCLASSNAME" val="FontSetGroup1"/>
  <p:tag name="TITLEMASTERSTYLESETGROUPCLASSNAME" val="StyleSetGroup1"/>
  <p:tag name="TITLEMASTERMODIFIED" val="1"/>
  <p:tag name="SLIDEMASTERMASTERNAME" val="TitleSlide"/>
  <p:tag name="SLIDEMASTERSHAPESETGROUPCLASSNAME" val="ShapeSetGroup1"/>
  <p:tag name="SLIDEMASTERCOLORSETGROUPCLASSNAME" val="ColorSetGroup5"/>
  <p:tag name="SLIDEMASTERFONTSETGROUPCLASSNAME" val="FontSetGroup1"/>
  <p:tag name="SLIDEMASTERSTYLESETGROUPCLASSNAME" val="StyleSetGroup1"/>
  <p:tag name="SLIDEMASTERMODIFIED" val="1"/>
  <p:tag name="EE4P_STYLE_ID" val="c90ee1e1-c015-415f-8aa1-dd21303cc84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FullPageGraphic"/>
  <p:tag name="COLORSETGROUPCLASSNAME" val="ColorSetGroup5"/>
  <p:tag name="FONTSETGROUPCLASSNAME" val="FontSetGroup1"/>
  <p:tag name="SHAPECLASSNAME" val="ColorBarOnTitleSlides"/>
  <p:tag name="SHAPECLASSFILE" val="Bosch-Symbol-Logotype-Supergraphic.png"/>
  <p:tag name="SHAPECLASSPROTECTIONTYPE" val="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_1" val="RB_Sh"/>
  <p:tag name="ML_2" val="Bosch2.mcr"/>
  <p:tag name="ML_LAYOUT_RESOURCE" val="BOSCH2_16_9.mcr"/>
  <p:tag name="FIELD.DPT.CONTENT" val="Business Unit, Department"/>
  <p:tag name="FIELD.DPT.VALUE" val="Business Unit, Department | "/>
  <p:tag name="FIELDS.INITIALIZED" val="1"/>
  <p:tag name="SHAPESETGROUPCLASSNAME" val="ShapeSetGroup1"/>
  <p:tag name="SHAPESETCLASSNAME" val="Title"/>
  <p:tag name="COLORSETGROUPCLASSNAME" val="ColorSetGroup5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2_SHAPECLASSPROTECTIONTYPE" val="31"/>
  <p:tag name="RECTANGLE 3_SHAPECLASSPROTECTIONTYPE" val="3"/>
  <p:tag name="PICTURE 4_SHAPECLASSPROTECTIONTYPE" val="15"/>
  <p:tag name="PICTURE 5_SHAPECLASSPROTECTIONTYPE" val="15"/>
  <p:tag name="RECTANGLE 6_SHAPECLASSPROTECTIONTYPE" val="63"/>
  <p:tag name="RECTANGLE 7_SHAPECLASSPROTECTIONTYPE" val="63"/>
  <p:tag name="RECTANGLE 8_SHAPECLASSPROTECTIONTYPE" val="63"/>
  <p:tag name="TEXTBOX 9_SHAPECLASSPROTECTIONTYPE" val="25"/>
  <p:tag name="PICTURE 10_SHAPECLASSPROTECTIONTYPE" val="15"/>
  <p:tag name="PICTURE 11_SHAPECLASSPROTECTIONTYPE" val="1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5"/>
  <p:tag name="FONTSETGROUPCLASSNAME" val="FontSetGroup1"/>
  <p:tag name="SHAPECLASSFILE" val="BoschLogo2016.emf"/>
  <p:tag name="MLI" val="1"/>
  <p:tag name="SHAPECLASSNAME" val="LogoOnSlides"/>
  <p:tag name="SHAPECLASSPROTECTIONTYPE" val="1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5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28"/>
  <p:tag name="FONTSETCLASSNAME" val="FontSet1"/>
  <p:tag name="COLORS" val="-2;-2;-2;-2;-2;-2"/>
  <p:tag name="COLORSETCLASSNAME" val="ColorSet1"/>
  <p:tag name="SCRIPT" val="1"/>
  <p:tag name="FIELDS" val="CHAPTER;"/>
  <p:tag name="MLI" val="1"/>
  <p:tag name="SHAPESETGROUPCLASSNAME" val="ShapeSetGroup1"/>
  <p:tag name="SHAPESETCLASSNAME" val="Title"/>
  <p:tag name="COLORSETGROUPCLASSNAME" val="ColorSetGroup5"/>
  <p:tag name="FONTSETGROUPCLASSNAME" val="FontSetGroup1"/>
  <p:tag name="SHAPECLASSNAME" val="Chapterbox"/>
  <p:tag name="SHAPECLASSPROTECTIONTYPE" val="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Bold6"/>
  <p:tag name="FONT2" val="Reg6"/>
  <p:tag name="FONT3" val="Reg6"/>
  <p:tag name="FONTSETCLASSNAME" val="FontSet1"/>
  <p:tag name="FONTCOLOR" val="Red"/>
  <p:tag name="FONTCOLOR2" val="Black"/>
  <p:tag name="FONTCOLOR3" val="Black"/>
  <p:tag name="FONTCOLOR4" val="Black"/>
  <p:tag name="RUNS.FONT" val="4"/>
  <p:tag name="COLORS" val="-2;-2;-2;-2;Red;-2"/>
  <p:tag name="COLORSETCLASSNAME" val="ColorSet1"/>
  <p:tag name="SCRIPT" val="1"/>
  <p:tag name="FIELDS" val="CONF;DPT;DATE;"/>
  <p:tag name="MLI" val="1"/>
  <p:tag name="SHAPESETGROUPCLASSNAME" val="ShapeSetGroup1"/>
  <p:tag name="SHAPESETCLASSNAME" val="Title"/>
  <p:tag name="COLORSETGROUPCLASSNAME" val="ColorSetGroup5"/>
  <p:tag name="FONTSETGROUPCLASSNAME" val="FontSetGroup1"/>
  <p:tag name="SHAPECLASSNAME" val="FooterLine1OnSlides"/>
  <p:tag name="SHAPECLASSPROTECTIONTYPE" val="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6"/>
  <p:tag name="FONTSETCLASSNAME" val="FontSet1"/>
  <p:tag name="FONTCOLOR" val="Black"/>
  <p:tag name="FONTCOLOR2" val="LightGray"/>
  <p:tag name="FONTCOLOR3" val="LightGray"/>
  <p:tag name="RUNS.FONT" val="3"/>
  <p:tag name="COLORS" val="-2;-2;-2;-2;Black;-2"/>
  <p:tag name="COLORSETCLASSNAME" val="ColorSet1"/>
  <p:tag name="SCRIPT" val="1"/>
  <p:tag name="FIELDS" val="REM_ABL;COPY;"/>
  <p:tag name="MLI" val="1"/>
  <p:tag name="SHAPESETGROUPCLASSNAME" val="ShapeSetGroup1"/>
  <p:tag name="SHAPESETCLASSNAME" val="Title"/>
  <p:tag name="COLORSETGROUPCLASSNAME" val="ColorSetGroup5"/>
  <p:tag name="FONTSETGROUPCLASSNAME" val="FontSetGroup1"/>
  <p:tag name="SHAPECLASSNAME" val="FooterLine2OnSlides"/>
  <p:tag name="SHAPECLASSPROTECTIONTYPE" val="6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12"/>
  <p:tag name="FONTSETCLASSNAME" val="FontSet1"/>
  <p:tag name="COLORS" val="-2;-2;-2;-2;DarkGray2;-2"/>
  <p:tag name="COLORSETCLASSNAME" val="ColorSet1"/>
  <p:tag name="SCRIPT" val="1"/>
  <p:tag name="MLI" val="1"/>
  <p:tag name="SHAPESETGROUPCLASSNAME" val="ShapeSetGroup1"/>
  <p:tag name="SHAPESETCLASSNAME" val="Title"/>
  <p:tag name="COLORSETGROUPCLASSNAME" val="ColorSetGroup5"/>
  <p:tag name="FONTSETGROUPCLASSNAME" val="FontSetGroup1"/>
  <p:tag name="SHAPECLASSNAME" val="PageNumberOnSlides"/>
  <p:tag name="SHAPECLASSPROTECTIONTYPE" val="6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Title"/>
  <p:tag name="COLORSETGROUPCLASSNAME" val="ColorSetGroup5"/>
  <p:tag name="FONTSETGROUPCLASSNAME" val="FontSetGroup1"/>
  <p:tag name="SHAPECLASSFILE" val="BoschLogo2016.emf"/>
  <p:tag name="MLI" val="1"/>
  <p:tag name="SHAPECLASSNAME" val="LogoOnSlides"/>
  <p:tag name="SHAPECLASSPROTECTIONTYPE" val="1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Title"/>
  <p:tag name="COLORSETGROUPCLASSNAME" val="ColorSetGroup5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lide"/>
  <p:tag name="COLORSETGROUPCLASSNAME" val="ColorSetGroup1"/>
  <p:tag name="FONTSETGROUPCLASSNAME" val="FontSetGroup1"/>
  <p:tag name="SHAPECLASSNAME" val="TitleBox"/>
  <p:tag name="SHAPECLASSPROTECTIONTYPE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Title"/>
  <p:tag name="COLORSETGROUPCLASSNAME" val="ColorSetGroup5"/>
  <p:tag name="FONTSETGROUPCLASSNAME" val="FontSetGroup1"/>
  <p:tag name="SHAPECLASSNAME" val="Attachment"/>
  <p:tag name="SHAPECLASSPROTECTIONTYP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"/>
  <p:tag name="COLORSETGROUPCLASSNAME" val="ColorSetGroup5"/>
  <p:tag name="FONTSETGROUPCLASSNAME" val="FontSetGroup1"/>
  <p:tag name="SHAPECLASSNAME" val="tNavbar"/>
  <p:tag name="SHAPECLASSPROTECTIONTYPE" val="3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DPT.CONTENT" val="Business Unit, Department"/>
  <p:tag name="FIELD.DPT.VALUE" val="Business Unit, Department | "/>
  <p:tag name="FIELDS.INITIALIZED" val="1"/>
  <p:tag name="ML_1" val="RB_Sh"/>
  <p:tag name="ML_2" val="Bosch2.mcr"/>
  <p:tag name="ML_LAYOUT_RESOURCE" val="BOSCH2_16_9.mcr"/>
  <p:tag name="SHAPESETGROUPCLASSNAME" val="ShapeSetGroup1"/>
  <p:tag name="SHAPESETCLASSNAME" val="EndSlide"/>
  <p:tag name="COLORSETGROUPCLASSNAME" val="ColorSetGroup5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PICTURE 3_SHAPECLASSPROTECTIONTYPE" val="15"/>
  <p:tag name="PICTURE 4_SHAPECLASSPROTECTIONTYPE" val="15"/>
  <p:tag name="SUBTITLE 2_SHAPECLASSPROTECTIONTYPE" val="0"/>
  <p:tag name="TITLE 1_SHAPECLASSPROTECTIONTYPE" val="3"/>
  <p:tag name="PICTURE 5_SHAPECLASSPROTECTIONTYPE" val="1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EndSlide"/>
  <p:tag name="COLORSETGROUPCLASSNAME" val="ColorSetGroup5"/>
  <p:tag name="FONTSETGROUPCLASSNAME" val="FontSetGroup1"/>
  <p:tag name="SHAPECLASSNAME" val="SupergraphicGray"/>
  <p:tag name="SHAPECLASSFILE" val="Bosch-Supergraphic-Light-Gray-16-9.png"/>
  <p:tag name="SHAPECLASSPROTECTIONTYPE" val="1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80"/>
  <p:tag name="FONTSETCLASSNAME" val="FontSet1"/>
  <p:tag name="COLORS" val="-2;-2;-2;-2;Black;-2"/>
  <p:tag name="COLORSETCLASSNAME" val="ColorSet1"/>
  <p:tag name="MLI" val="1"/>
  <p:tag name="SHAPESETGROUPCLASSNAME" val="ShapeSetGroup1"/>
  <p:tag name="SHAPESETCLASSNAME" val="EndSlide"/>
  <p:tag name="COLORSETGROUPCLASSNAME" val="ColorSetGroup5"/>
  <p:tag name="FONTSETGROUPCLASSNAME" val="FontSetGroup1"/>
  <p:tag name="SHAPECLASSNAME" val="TextOnEndSlide"/>
  <p:tag name="SHAPECLASSPROTECTIONTYP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FullPageGraphic"/>
  <p:tag name="COLORSETGROUPCLASSNAME" val="ColorSetGroup5"/>
  <p:tag name="FONTSETGROUPCLASSNAME" val="FontSetGroup1"/>
  <p:tag name="SHAPECLASSNAME" val="ColorBarOnTitleSlides"/>
  <p:tag name="SHAPECLASSFILE" val="Bosch-Symbol-Logotype-Supergraphic.png"/>
  <p:tag name="SHAPECLASSPROTECTIONTYPE" val="1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extBoxFont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Slide"/>
  <p:tag name="COLORSETGROUPCLASSNAME" val="ColorSetGroup1"/>
  <p:tag name="FONTSETGROUPCLASSNAME" val="FontSetGroup1"/>
  <p:tag name="SHAPECLASSNAME" val="TextBox"/>
  <p:tag name="SHAPECLASSPROTECTIONTYPE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Slide"/>
  <p:tag name="COLORSETGROUPCLASSNAME" val="ColorSetGroup5"/>
  <p:tag name="FONTSETGROUPCLASSNAME" val="FontSetGroup1"/>
  <p:tag name="SHAPECLASSNAME" val="ColorBarOnSlides"/>
  <p:tag name="SHAPECLASSFILE" val="Bosch-Supergraphic-Bottom-16-9.png"/>
  <p:tag name="SHAPECLASSPROTECTIONTYPE" val="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FullPageGraphic"/>
  <p:tag name="COLORSETGROUPCLASSNAME" val="ColorSetGroup5"/>
  <p:tag name="FONTSETGROUPCLASSNAME" val="FontSetGroup1"/>
  <p:tag name="SHAPECLASSNAME" val="ColorBarOnTitleSlides"/>
  <p:tag name="SHAPECLASSFILE" val="Bosch-Symbol-Logotype-Supergraphic.png"/>
  <p:tag name="SHAPECLASSPROTECTIONTYPE" val="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DPT.CONTENT" val="Business Unit, Department"/>
  <p:tag name="FIELD.DPT.VALUE" val="Business Unit, Department | "/>
  <p:tag name="FIELDS.INITIALIZED" val="1"/>
  <p:tag name="ML_1" val="RB_Sh"/>
  <p:tag name="ML_2" val="Bosch2.mcr"/>
  <p:tag name="ML_LAYOUT_RESOURCE" val="BOSCH2_16_9.mcr"/>
  <p:tag name="SHAPESETGROUPCLASSNAME" val="ShapeSetGroup1"/>
  <p:tag name="SHAPESETCLASSNAME" val="TitleSupergraphic1"/>
  <p:tag name="COLORSETGROUPCLASSNAME" val="ColorSetGroup5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PICTURE 3_SHAPECLASSPROTECTIONTYPE" val="15"/>
  <p:tag name="PICTURE 4_SHAPECLASSPROTECTIONTYPE" val="15"/>
  <p:tag name="PICTURE 5_SHAPECLASSPROTECTIONTYPE" val="15"/>
  <p:tag name="SUBTITLE 2_SHAPECLASSPROTECTIONTYPE" val="0"/>
  <p:tag name="TITLE 1_SHAPECLASSPROTECTIONTYPE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Supergraphic1"/>
  <p:tag name="SHAPECLASSFILE" val="Bosch-Supergraphic-P1-16-9.png"/>
  <p:tag name="SHAPECLASSPROTECTIONTYPE" val="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heme/theme1.xml><?xml version="1.0" encoding="utf-8"?>
<a:theme xmlns:a="http://schemas.openxmlformats.org/drawingml/2006/main" name="Bosch_PowerPoint_Template_2016_16-9_en">
  <a:themeElements>
    <a:clrScheme name="Bosch">
      <a:dk1>
        <a:srgbClr val="000000"/>
      </a:dk1>
      <a:lt1>
        <a:srgbClr val="FFFFFF"/>
      </a:lt1>
      <a:dk2>
        <a:srgbClr val="424C58"/>
      </a:dk2>
      <a:lt2>
        <a:srgbClr val="B2B3B5"/>
      </a:lt2>
      <a:accent1>
        <a:srgbClr val="3F136C"/>
      </a:accent1>
      <a:accent2>
        <a:srgbClr val="08427E"/>
      </a:accent2>
      <a:accent3>
        <a:srgbClr val="0E78C5"/>
      </a:accent3>
      <a:accent4>
        <a:srgbClr val="1399A0"/>
      </a:accent4>
      <a:accent5>
        <a:srgbClr val="67B419"/>
      </a:accent5>
      <a:accent6>
        <a:srgbClr val="0A5139"/>
      </a:accent6>
      <a:hlink>
        <a:srgbClr val="738CB4"/>
      </a:hlink>
      <a:folHlink>
        <a:srgbClr val="B0BBD0"/>
      </a:folHlink>
    </a:clrScheme>
    <a:fontScheme name="Bosch Office Sans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504"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53B63"/>
        </a:accent1>
        <a:accent2>
          <a:srgbClr val="425C8F"/>
        </a:accent2>
        <a:accent3>
          <a:srgbClr val="FFFFFF"/>
        </a:accent3>
        <a:accent4>
          <a:srgbClr val="000000"/>
        </a:accent4>
        <a:accent5>
          <a:srgbClr val="AAAFB7"/>
        </a:accent5>
        <a:accent6>
          <a:srgbClr val="3B5381"/>
        </a:accent6>
        <a:hlink>
          <a:srgbClr val="738CB4"/>
        </a:hlink>
        <a:folHlink>
          <a:srgbClr val="B0BB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Bosch2016.potx" id="{81051E99-24B5-4A41-B4F3-C963EC6CD1DB}" vid="{0F0ED88E-60F1-4A11-8D49-7E8019C8E14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0</Words>
  <Application>Microsoft Office PowerPoint</Application>
  <PresentationFormat>Benutzerdefiniert</PresentationFormat>
  <Paragraphs>34</Paragraphs>
  <Slides>4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Bosch Office Sans</vt:lpstr>
      <vt:lpstr>Calibri</vt:lpstr>
      <vt:lpstr>Symbol</vt:lpstr>
      <vt:lpstr>Wingdings</vt:lpstr>
      <vt:lpstr>Wingdings 3</vt:lpstr>
      <vt:lpstr>Bosch_PowerPoint_Template_2016_16-9_en</vt:lpstr>
      <vt:lpstr>#BCX17 Connected Building &amp; CITY</vt:lpstr>
      <vt:lpstr>Bosch surveillance cameras on #BCX17 Information for Hackers</vt:lpstr>
      <vt:lpstr>PowerPoint-Präsentation</vt:lpstr>
      <vt:lpstr>Your Contact #BCX17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na Dildey</dc:creator>
  <cp:lastModifiedBy>Lauterbach David (ST-VS/MKA-Nu)</cp:lastModifiedBy>
  <cp:revision>148</cp:revision>
  <cp:lastPrinted>2016-08-12T07:15:03Z</cp:lastPrinted>
  <dcterms:created xsi:type="dcterms:W3CDTF">2016-07-29T16:18:33Z</dcterms:created>
  <dcterms:modified xsi:type="dcterms:W3CDTF">2017-02-21T13:47:35Z</dcterms:modified>
</cp:coreProperties>
</file>